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  <p:sldMasterId id="2147483749" r:id="rId5"/>
  </p:sldMasterIdLst>
  <p:notesMasterIdLst>
    <p:notesMasterId r:id="rId51"/>
  </p:notesMasterIdLst>
  <p:handoutMasterIdLst>
    <p:handoutMasterId r:id="rId52"/>
  </p:handoutMasterIdLst>
  <p:sldIdLst>
    <p:sldId id="412" r:id="rId6"/>
    <p:sldId id="286" r:id="rId7"/>
    <p:sldId id="265" r:id="rId8"/>
    <p:sldId id="259" r:id="rId9"/>
    <p:sldId id="260" r:id="rId10"/>
    <p:sldId id="420" r:id="rId11"/>
    <p:sldId id="421" r:id="rId12"/>
    <p:sldId id="422" r:id="rId13"/>
    <p:sldId id="423" r:id="rId14"/>
    <p:sldId id="424" r:id="rId15"/>
    <p:sldId id="427" r:id="rId16"/>
    <p:sldId id="428" r:id="rId17"/>
    <p:sldId id="429" r:id="rId18"/>
    <p:sldId id="452" r:id="rId19"/>
    <p:sldId id="417" r:id="rId20"/>
    <p:sldId id="446" r:id="rId21"/>
    <p:sldId id="447" r:id="rId22"/>
    <p:sldId id="448" r:id="rId23"/>
    <p:sldId id="449" r:id="rId24"/>
    <p:sldId id="450" r:id="rId25"/>
    <p:sldId id="451" r:id="rId26"/>
    <p:sldId id="453" r:id="rId27"/>
    <p:sldId id="418" r:id="rId28"/>
    <p:sldId id="430" r:id="rId29"/>
    <p:sldId id="431" r:id="rId30"/>
    <p:sldId id="432" r:id="rId31"/>
    <p:sldId id="433" r:id="rId32"/>
    <p:sldId id="434" r:id="rId33"/>
    <p:sldId id="435" r:id="rId34"/>
    <p:sldId id="454" r:id="rId35"/>
    <p:sldId id="437" r:id="rId36"/>
    <p:sldId id="438" r:id="rId37"/>
    <p:sldId id="419" r:id="rId38"/>
    <p:sldId id="439" r:id="rId39"/>
    <p:sldId id="441" r:id="rId40"/>
    <p:sldId id="440" r:id="rId41"/>
    <p:sldId id="442" r:id="rId42"/>
    <p:sldId id="443" r:id="rId43"/>
    <p:sldId id="444" r:id="rId44"/>
    <p:sldId id="415" r:id="rId45"/>
    <p:sldId id="382" r:id="rId46"/>
    <p:sldId id="445" r:id="rId47"/>
    <p:sldId id="436" r:id="rId48"/>
    <p:sldId id="325" r:id="rId49"/>
    <p:sldId id="287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3EC1"/>
    <a:srgbClr val="BDD7EE"/>
    <a:srgbClr val="014185"/>
    <a:srgbClr val="002060"/>
    <a:srgbClr val="216989"/>
    <a:srgbClr val="DD5A1F"/>
    <a:srgbClr val="4472C4"/>
    <a:srgbClr val="1C6981"/>
    <a:srgbClr val="4D4D4D"/>
    <a:srgbClr val="9597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354D7A-9625-443D-B9BF-07DA09F7C5AA}" v="41" dt="2024-10-02T12:03:22.3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2" autoAdjust="0"/>
    <p:restoredTop sz="83539" autoAdjust="0"/>
  </p:normalViewPr>
  <p:slideViewPr>
    <p:cSldViewPr snapToGrid="0" snapToObjects="1">
      <p:cViewPr varScale="1">
        <p:scale>
          <a:sx n="67" d="100"/>
          <a:sy n="67" d="100"/>
        </p:scale>
        <p:origin x="374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268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microsoft.com/office/2016/11/relationships/changesInfo" Target="changesInfos/changesInfo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D5354D7A-9625-443D-B9BF-07DA09F7C5AA}"/>
    <pc:docChg chg="undo redo custSel addSld delSld modSld">
      <pc:chgData name="Koen Verbeeck" userId="24d0e79a7fd977da" providerId="LiveId" clId="{D5354D7A-9625-443D-B9BF-07DA09F7C5AA}" dt="2024-10-02T12:03:29.719" v="205" actId="14100"/>
      <pc:docMkLst>
        <pc:docMk/>
      </pc:docMkLst>
      <pc:sldChg chg="add del">
        <pc:chgData name="Koen Verbeeck" userId="24d0e79a7fd977da" providerId="LiveId" clId="{D5354D7A-9625-443D-B9BF-07DA09F7C5AA}" dt="2024-10-02T06:56:39.480" v="169"/>
        <pc:sldMkLst>
          <pc:docMk/>
          <pc:sldMk cId="1993828845" sldId="286"/>
        </pc:sldMkLst>
      </pc:sldChg>
      <pc:sldChg chg="modSp add del mod">
        <pc:chgData name="Koen Verbeeck" userId="24d0e79a7fd977da" providerId="LiveId" clId="{D5354D7A-9625-443D-B9BF-07DA09F7C5AA}" dt="2024-10-02T06:57:30.344" v="178"/>
        <pc:sldMkLst>
          <pc:docMk/>
          <pc:sldMk cId="3682278545" sldId="287"/>
        </pc:sldMkLst>
        <pc:spChg chg="mod">
          <ac:chgData name="Koen Verbeeck" userId="24d0e79a7fd977da" providerId="LiveId" clId="{D5354D7A-9625-443D-B9BF-07DA09F7C5AA}" dt="2024-10-02T06:57:10.184" v="172" actId="1076"/>
          <ac:spMkLst>
            <pc:docMk/>
            <pc:sldMk cId="3682278545" sldId="287"/>
            <ac:spMk id="7" creationId="{67028A06-C8FF-8437-6D15-1A5910BBB805}"/>
          </ac:spMkLst>
        </pc:spChg>
      </pc:sldChg>
      <pc:sldChg chg="addSp modSp">
        <pc:chgData name="Koen Verbeeck" userId="24d0e79a7fd977da" providerId="LiveId" clId="{D5354D7A-9625-443D-B9BF-07DA09F7C5AA}" dt="2024-10-02T06:22:32.932" v="0"/>
        <pc:sldMkLst>
          <pc:docMk/>
          <pc:sldMk cId="2269511066" sldId="420"/>
        </pc:sldMkLst>
        <pc:spChg chg="add mod">
          <ac:chgData name="Koen Verbeeck" userId="24d0e79a7fd977da" providerId="LiveId" clId="{D5354D7A-9625-443D-B9BF-07DA09F7C5AA}" dt="2024-10-02T06:22:32.932" v="0"/>
          <ac:spMkLst>
            <pc:docMk/>
            <pc:sldMk cId="2269511066" sldId="420"/>
            <ac:spMk id="2" creationId="{0068276C-8CFB-FCA5-7CED-55DA4FDF9EDE}"/>
          </ac:spMkLst>
        </pc:spChg>
      </pc:sldChg>
      <pc:sldChg chg="modSp mod">
        <pc:chgData name="Koen Verbeeck" userId="24d0e79a7fd977da" providerId="LiveId" clId="{D5354D7A-9625-443D-B9BF-07DA09F7C5AA}" dt="2024-10-02T06:23:07.894" v="1" actId="113"/>
        <pc:sldMkLst>
          <pc:docMk/>
          <pc:sldMk cId="1135261592" sldId="427"/>
        </pc:sldMkLst>
        <pc:spChg chg="mod">
          <ac:chgData name="Koen Verbeeck" userId="24d0e79a7fd977da" providerId="LiveId" clId="{D5354D7A-9625-443D-B9BF-07DA09F7C5AA}" dt="2024-10-02T06:23:07.894" v="1" actId="113"/>
          <ac:spMkLst>
            <pc:docMk/>
            <pc:sldMk cId="1135261592" sldId="427"/>
            <ac:spMk id="3" creationId="{CE34D4A9-FBA9-C801-D8CB-60C8082686AC}"/>
          </ac:spMkLst>
        </pc:spChg>
      </pc:sldChg>
      <pc:sldChg chg="modSp mod">
        <pc:chgData name="Koen Verbeeck" userId="24d0e79a7fd977da" providerId="LiveId" clId="{D5354D7A-9625-443D-B9BF-07DA09F7C5AA}" dt="2024-10-02T11:35:27.392" v="179" actId="6549"/>
        <pc:sldMkLst>
          <pc:docMk/>
          <pc:sldMk cId="2521477185" sldId="431"/>
        </pc:sldMkLst>
        <pc:spChg chg="mod">
          <ac:chgData name="Koen Verbeeck" userId="24d0e79a7fd977da" providerId="LiveId" clId="{D5354D7A-9625-443D-B9BF-07DA09F7C5AA}" dt="2024-10-02T11:35:27.392" v="179" actId="6549"/>
          <ac:spMkLst>
            <pc:docMk/>
            <pc:sldMk cId="2521477185" sldId="431"/>
            <ac:spMk id="140" creationId="{8A870C8B-B8D5-45AF-6154-DB54CE46D334}"/>
          </ac:spMkLst>
        </pc:spChg>
      </pc:sldChg>
      <pc:sldChg chg="modSp mod">
        <pc:chgData name="Koen Verbeeck" userId="24d0e79a7fd977da" providerId="LiveId" clId="{D5354D7A-9625-443D-B9BF-07DA09F7C5AA}" dt="2024-10-02T11:37:25.403" v="188" actId="1035"/>
        <pc:sldMkLst>
          <pc:docMk/>
          <pc:sldMk cId="1162433024" sldId="434"/>
        </pc:sldMkLst>
        <pc:spChg chg="mod">
          <ac:chgData name="Koen Verbeeck" userId="24d0e79a7fd977da" providerId="LiveId" clId="{D5354D7A-9625-443D-B9BF-07DA09F7C5AA}" dt="2024-10-02T11:37:21.597" v="180" actId="1076"/>
          <ac:spMkLst>
            <pc:docMk/>
            <pc:sldMk cId="1162433024" sldId="434"/>
            <ac:spMk id="19" creationId="{29DE45BA-96BB-1D2E-DCB3-6A59DEF29654}"/>
          </ac:spMkLst>
        </pc:spChg>
        <pc:spChg chg="mod">
          <ac:chgData name="Koen Verbeeck" userId="24d0e79a7fd977da" providerId="LiveId" clId="{D5354D7A-9625-443D-B9BF-07DA09F7C5AA}" dt="2024-10-02T11:37:25.403" v="188" actId="1035"/>
          <ac:spMkLst>
            <pc:docMk/>
            <pc:sldMk cId="1162433024" sldId="434"/>
            <ac:spMk id="20" creationId="{852CD6D9-16D3-C4DC-67A8-00C23DD99E32}"/>
          </ac:spMkLst>
        </pc:spChg>
      </pc:sldChg>
      <pc:sldChg chg="addSp modSp mod modAnim">
        <pc:chgData name="Koen Verbeeck" userId="24d0e79a7fd977da" providerId="LiveId" clId="{D5354D7A-9625-443D-B9BF-07DA09F7C5AA}" dt="2024-10-02T06:52:50.888" v="166" actId="1076"/>
        <pc:sldMkLst>
          <pc:docMk/>
          <pc:sldMk cId="2616444711" sldId="436"/>
        </pc:sldMkLst>
        <pc:spChg chg="mod">
          <ac:chgData name="Koen Verbeeck" userId="24d0e79a7fd977da" providerId="LiveId" clId="{D5354D7A-9625-443D-B9BF-07DA09F7C5AA}" dt="2024-10-02T06:51:25.575" v="149" actId="1035"/>
          <ac:spMkLst>
            <pc:docMk/>
            <pc:sldMk cId="2616444711" sldId="436"/>
            <ac:spMk id="17" creationId="{A0628CE9-60F0-3CCD-43F3-F81EA87C0D26}"/>
          </ac:spMkLst>
        </pc:spChg>
        <pc:spChg chg="mod">
          <ac:chgData name="Koen Verbeeck" userId="24d0e79a7fd977da" providerId="LiveId" clId="{D5354D7A-9625-443D-B9BF-07DA09F7C5AA}" dt="2024-10-02T06:50:54.830" v="125"/>
          <ac:spMkLst>
            <pc:docMk/>
            <pc:sldMk cId="2616444711" sldId="436"/>
            <ac:spMk id="19" creationId="{6645B87C-1E95-833D-6C68-0FD9CFDECF3B}"/>
          </ac:spMkLst>
        </pc:spChg>
        <pc:spChg chg="mod">
          <ac:chgData name="Koen Verbeeck" userId="24d0e79a7fd977da" providerId="LiveId" clId="{D5354D7A-9625-443D-B9BF-07DA09F7C5AA}" dt="2024-10-02T06:51:19.798" v="131" actId="1076"/>
          <ac:spMkLst>
            <pc:docMk/>
            <pc:sldMk cId="2616444711" sldId="436"/>
            <ac:spMk id="21" creationId="{334C80EC-88C0-2E3D-7E0C-781ECC89F308}"/>
          </ac:spMkLst>
        </pc:spChg>
        <pc:spChg chg="mod">
          <ac:chgData name="Koen Verbeeck" userId="24d0e79a7fd977da" providerId="LiveId" clId="{D5354D7A-9625-443D-B9BF-07DA09F7C5AA}" dt="2024-10-02T06:51:50.228" v="155" actId="1076"/>
          <ac:spMkLst>
            <pc:docMk/>
            <pc:sldMk cId="2616444711" sldId="436"/>
            <ac:spMk id="23" creationId="{6B3E77BA-CB22-6A88-8B16-97EEB69CFA12}"/>
          </ac:spMkLst>
        </pc:spChg>
        <pc:spChg chg="mod">
          <ac:chgData name="Koen Verbeeck" userId="24d0e79a7fd977da" providerId="LiveId" clId="{D5354D7A-9625-443D-B9BF-07DA09F7C5AA}" dt="2024-10-02T06:52:17.615" v="160" actId="1076"/>
          <ac:spMkLst>
            <pc:docMk/>
            <pc:sldMk cId="2616444711" sldId="436"/>
            <ac:spMk id="25" creationId="{08742C7E-17B5-CD6C-CA54-BEB5D9B6B16B}"/>
          </ac:spMkLst>
        </pc:spChg>
        <pc:spChg chg="mod">
          <ac:chgData name="Koen Verbeeck" userId="24d0e79a7fd977da" providerId="LiveId" clId="{D5354D7A-9625-443D-B9BF-07DA09F7C5AA}" dt="2024-10-02T06:52:29.232" v="163"/>
          <ac:spMkLst>
            <pc:docMk/>
            <pc:sldMk cId="2616444711" sldId="436"/>
            <ac:spMk id="27" creationId="{3C89B146-E5D5-1DC2-A57A-450AC9C2A6C7}"/>
          </ac:spMkLst>
        </pc:spChg>
        <pc:picChg chg="add mod">
          <ac:chgData name="Koen Verbeeck" userId="24d0e79a7fd977da" providerId="LiveId" clId="{D5354D7A-9625-443D-B9BF-07DA09F7C5AA}" dt="2024-10-02T06:52:50.888" v="166" actId="1076"/>
          <ac:picMkLst>
            <pc:docMk/>
            <pc:sldMk cId="2616444711" sldId="436"/>
            <ac:picMk id="3" creationId="{1E16FB42-9400-0A86-6901-15F6A6A4E965}"/>
          </ac:picMkLst>
        </pc:picChg>
      </pc:sldChg>
      <pc:sldChg chg="modSp mod">
        <pc:chgData name="Koen Verbeeck" userId="24d0e79a7fd977da" providerId="LiveId" clId="{D5354D7A-9625-443D-B9BF-07DA09F7C5AA}" dt="2024-10-02T06:35:37.961" v="92" actId="1036"/>
        <pc:sldMkLst>
          <pc:docMk/>
          <pc:sldMk cId="3190501820" sldId="438"/>
        </pc:sldMkLst>
        <pc:spChg chg="mod">
          <ac:chgData name="Koen Verbeeck" userId="24d0e79a7fd977da" providerId="LiveId" clId="{D5354D7A-9625-443D-B9BF-07DA09F7C5AA}" dt="2024-10-02T06:35:37.961" v="92" actId="1036"/>
          <ac:spMkLst>
            <pc:docMk/>
            <pc:sldMk cId="3190501820" sldId="438"/>
            <ac:spMk id="5" creationId="{FF725E3E-0187-04B7-5D54-7BEF90BF3B54}"/>
          </ac:spMkLst>
        </pc:spChg>
        <pc:spChg chg="mod">
          <ac:chgData name="Koen Verbeeck" userId="24d0e79a7fd977da" providerId="LiveId" clId="{D5354D7A-9625-443D-B9BF-07DA09F7C5AA}" dt="2024-10-02T06:35:10.136" v="76" actId="1076"/>
          <ac:spMkLst>
            <pc:docMk/>
            <pc:sldMk cId="3190501820" sldId="438"/>
            <ac:spMk id="8" creationId="{91D30009-F2B6-1685-9858-7D69B0F0A0C8}"/>
          </ac:spMkLst>
        </pc:spChg>
        <pc:spChg chg="mod">
          <ac:chgData name="Koen Verbeeck" userId="24d0e79a7fd977da" providerId="LiveId" clId="{D5354D7A-9625-443D-B9BF-07DA09F7C5AA}" dt="2024-10-02T06:35:12.799" v="77" actId="1076"/>
          <ac:spMkLst>
            <pc:docMk/>
            <pc:sldMk cId="3190501820" sldId="438"/>
            <ac:spMk id="9" creationId="{A18D50B4-5EB9-E741-51B3-D1D322ACE1CB}"/>
          </ac:spMkLst>
        </pc:spChg>
        <pc:picChg chg="mod">
          <ac:chgData name="Koen Verbeeck" userId="24d0e79a7fd977da" providerId="LiveId" clId="{D5354D7A-9625-443D-B9BF-07DA09F7C5AA}" dt="2024-10-02T06:35:20.182" v="78" actId="1076"/>
          <ac:picMkLst>
            <pc:docMk/>
            <pc:sldMk cId="3190501820" sldId="438"/>
            <ac:picMk id="6" creationId="{78674961-A499-30FA-4998-7F9D6F15B2C2}"/>
          </ac:picMkLst>
        </pc:picChg>
      </pc:sldChg>
      <pc:sldChg chg="modSp mod modAnim">
        <pc:chgData name="Koen Verbeeck" userId="24d0e79a7fd977da" providerId="LiveId" clId="{D5354D7A-9625-443D-B9BF-07DA09F7C5AA}" dt="2024-10-02T11:43:58.018" v="189" actId="14100"/>
        <pc:sldMkLst>
          <pc:docMk/>
          <pc:sldMk cId="994650749" sldId="439"/>
        </pc:sldMkLst>
        <pc:spChg chg="mod">
          <ac:chgData name="Koen Verbeeck" userId="24d0e79a7fd977da" providerId="LiveId" clId="{D5354D7A-9625-443D-B9BF-07DA09F7C5AA}" dt="2024-10-02T11:43:58.018" v="189" actId="14100"/>
          <ac:spMkLst>
            <pc:docMk/>
            <pc:sldMk cId="994650749" sldId="439"/>
            <ac:spMk id="8" creationId="{B954F9DF-E171-140A-551D-5DDC0E91AADF}"/>
          </ac:spMkLst>
        </pc:spChg>
      </pc:sldChg>
      <pc:sldChg chg="modSp mod modAnim">
        <pc:chgData name="Koen Verbeeck" userId="24d0e79a7fd977da" providerId="LiveId" clId="{D5354D7A-9625-443D-B9BF-07DA09F7C5AA}" dt="2024-10-02T12:03:29.719" v="205" actId="14100"/>
        <pc:sldMkLst>
          <pc:docMk/>
          <pc:sldMk cId="2974785033" sldId="445"/>
        </pc:sldMkLst>
        <pc:spChg chg="mod">
          <ac:chgData name="Koen Verbeeck" userId="24d0e79a7fd977da" providerId="LiveId" clId="{D5354D7A-9625-443D-B9BF-07DA09F7C5AA}" dt="2024-10-02T12:03:29.719" v="205" actId="14100"/>
          <ac:spMkLst>
            <pc:docMk/>
            <pc:sldMk cId="2974785033" sldId="445"/>
            <ac:spMk id="3" creationId="{39F02F9A-4280-2AE2-39BE-B151EAA95D27}"/>
          </ac:spMkLst>
        </pc:spChg>
        <pc:spChg chg="mod">
          <ac:chgData name="Koen Verbeeck" userId="24d0e79a7fd977da" providerId="LiveId" clId="{D5354D7A-9625-443D-B9BF-07DA09F7C5AA}" dt="2024-10-02T06:47:12.440" v="97" actId="5793"/>
          <ac:spMkLst>
            <pc:docMk/>
            <pc:sldMk cId="2974785033" sldId="445"/>
            <ac:spMk id="7" creationId="{4B0B30B9-F095-32DB-ABC0-E92CB36CC058}"/>
          </ac:spMkLst>
        </pc:spChg>
      </pc:sldChg>
      <pc:sldChg chg="addSp modSp mod modAnim">
        <pc:chgData name="Koen Verbeeck" userId="24d0e79a7fd977da" providerId="LiveId" clId="{D5354D7A-9625-443D-B9BF-07DA09F7C5AA}" dt="2024-10-02T06:34:03.743" v="75"/>
        <pc:sldMkLst>
          <pc:docMk/>
          <pc:sldMk cId="4032121321" sldId="454"/>
        </pc:sldMkLst>
        <pc:spChg chg="add mod">
          <ac:chgData name="Koen Verbeeck" userId="24d0e79a7fd977da" providerId="LiveId" clId="{D5354D7A-9625-443D-B9BF-07DA09F7C5AA}" dt="2024-10-02T06:33:45.819" v="74" actId="1076"/>
          <ac:spMkLst>
            <pc:docMk/>
            <pc:sldMk cId="4032121321" sldId="454"/>
            <ac:spMk id="5" creationId="{54E71690-F27D-0787-6F91-318417926DFE}"/>
          </ac:spMkLst>
        </pc:spChg>
      </pc:sldChg>
      <pc:sldMasterChg chg="delSldLayout">
        <pc:chgData name="Koen Verbeeck" userId="24d0e79a7fd977da" providerId="LiveId" clId="{D5354D7A-9625-443D-B9BF-07DA09F7C5AA}" dt="2024-10-02T06:57:22.752" v="175" actId="47"/>
        <pc:sldMasterMkLst>
          <pc:docMk/>
          <pc:sldMasterMk cId="989566460" sldId="2147483709"/>
        </pc:sldMasterMkLst>
        <pc:sldLayoutChg chg="del">
          <pc:chgData name="Koen Verbeeck" userId="24d0e79a7fd977da" providerId="LiveId" clId="{D5354D7A-9625-443D-B9BF-07DA09F7C5AA}" dt="2024-10-02T06:57:15.040" v="173" actId="47"/>
          <pc:sldLayoutMkLst>
            <pc:docMk/>
            <pc:sldMasterMk cId="989566460" sldId="2147483709"/>
            <pc:sldLayoutMk cId="1898167506" sldId="2147483762"/>
          </pc:sldLayoutMkLst>
        </pc:sldLayoutChg>
        <pc:sldLayoutChg chg="del">
          <pc:chgData name="Koen Verbeeck" userId="24d0e79a7fd977da" providerId="LiveId" clId="{D5354D7A-9625-443D-B9BF-07DA09F7C5AA}" dt="2024-10-02T06:57:22.752" v="175" actId="47"/>
          <pc:sldLayoutMkLst>
            <pc:docMk/>
            <pc:sldMasterMk cId="989566460" sldId="2147483709"/>
            <pc:sldLayoutMk cId="4142632691" sldId="214748376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E0D86-2B18-484E-A059-36A13C48AE65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7FB1D-E27C-3C4E-ADA0-85747A60B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D865D-8AD5-164D-87A7-DE5F6A4AAE52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9F00E-9A68-9A45-9A40-54379875F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497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FD2E09-072C-B746-994E-E046AF2866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05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551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384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query history and </a:t>
            </a:r>
            <a:r>
              <a:rPr lang="en-US" dirty="0" err="1"/>
              <a:t>get_ddl</a:t>
            </a:r>
            <a:r>
              <a:rPr lang="en-US" dirty="0"/>
              <a:t>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002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FD2E09-072C-B746-994E-E046AF2866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101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4137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75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33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0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78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2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64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84977629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98493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89058227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37694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04232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10327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297094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11904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338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30467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606429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1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64318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0982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03725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304510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771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495545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275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922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3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67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67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306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822597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7878393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702867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42A5C-783E-5BA9-3109-C64CED2BD0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B33CFD-A946-6B59-6637-07BE5A9402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5DE59D-9E34-8B0B-7133-E2667BAA1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FE38BE-C4FA-E7EE-5F81-087480165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A8298-BF49-FF15-2E61-9A4524E2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535364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E19A2-FAAB-EC35-BB91-98136F171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85DE23-5F6A-A26C-77B7-02FEB26266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6BA52-673F-EAEF-0B65-91340AB70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9A0AB-2D39-1CEC-81CA-AFE1E4AE5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982C90-F87C-EB7B-0357-1F575A7DE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332559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50F33-03F3-8659-6BAE-187693987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0C8AE0-AAD2-56CF-6DD8-69F63CA8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1D271-09E6-FC5A-A392-8474C4969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CF9F4E-F8CD-81EF-DD84-216A8F04A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E70E9-D2EC-1CF0-BA7D-B95159CC3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1998170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BC470-1A5C-3312-D68A-B89855F3C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958976-5A16-E83F-7401-2B3EA171B6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DBDF4F-95A2-CD00-1373-09563A2D7F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E27A92-A702-8A2C-2D6C-AE1044C52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9C48-BD7A-93E4-2EB0-65FD0B785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282295-8494-4ABD-F593-715C06076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8744708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D0AAB-C25D-EE36-8460-77F0CF114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E888F-1B06-8910-EE49-4808CF1EC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2726C0-A638-EC12-65A6-C0E82CD52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8C92FD-8444-D979-11CC-74E8A26D75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0E308D-E6B5-7CE2-71C8-8E8F7B3C63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931FEB-3EC8-6290-C094-B183FFB88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5C18F3-9D9A-8D88-D68D-D8807AEF8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631F58-C154-6ACA-D193-DBF193803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312111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D44FC-47AD-F44C-5EAD-7C61744A0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1983B3-7E82-EEED-FF15-2BC4444F7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025D4-C956-483C-1F70-E0553E18E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46384E-7634-5E27-1690-1DC7A4B6D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226357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FCF92A-BC75-5220-C577-31801AFDD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681FA0-A72D-F568-4C08-7F1F07985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06EEB-DB2B-8635-08CB-FFD558404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488684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6D36E-9191-FE03-71E8-7DF7E6DED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764BD-CF26-A62E-B791-C44437685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A8B3F9-EEBB-5691-3B77-D989B9AD26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772549-D572-5E82-3125-4E27CA8A4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4A8552-0386-ACFF-3D85-033857A55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DEEEC9-211F-3B2E-8021-6615F0635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719728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026EB-2FFD-F150-F929-6F8849D2F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B6CB41-7A27-E561-1BEE-D94E959808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3789D8-10B9-097C-2AED-18A96F1530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7D7DB2-6B4A-A48C-94B3-EF52148E3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85BCEA-0692-8438-02E6-827CBE885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D44E5-9BD2-C773-9D35-4F02D935B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9847960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8F6F7-8CFC-C236-45AC-4812624FD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F057F1-2134-7529-C405-79B10EADF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CA0B1-1522-745C-913D-A7F52AFA6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A92F4-B51B-21C5-9001-8B5BFB314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123D4F-42CC-78A2-8BC5-36D8A02A5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9503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693142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D1E1F2-B046-1CC9-8BFF-CC8405DF8B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302E73-BF62-65F4-A16A-8DB7512E73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F3AA80-1B69-FD6F-2091-2C2748ED1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C08A5-6434-5968-1E8C-AE99A2D3D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3439B-D4D2-4997-9675-DC9CCD235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9441109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0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407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45529165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8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71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2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6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869C69-8949-CEA7-474B-5F049C278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313386-BF11-9474-D788-86DCD8A330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9A3AD-3AD1-E594-C3AC-04AA1FD4C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45165C-61D5-42B7-9D8B-D94D579A4112}" type="datetimeFigureOut">
              <a:rPr lang="LID4096" smtClean="0"/>
              <a:t>10/02/2024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AF967-3329-CABE-268A-F950DE35B1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DC850-B1ED-1D64-97C0-EECF8CAF8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2632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8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24.png"/><Relationship Id="rId21" Type="http://schemas.openxmlformats.org/officeDocument/2006/relationships/image" Target="../media/image42.jp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jfif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7.jpg"/><Relationship Id="rId20" Type="http://schemas.openxmlformats.org/officeDocument/2006/relationships/image" Target="../media/image41.jp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5" Type="http://schemas.openxmlformats.org/officeDocument/2006/relationships/image" Target="../media/image26.jp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4" Type="http://schemas.openxmlformats.org/officeDocument/2006/relationships/image" Target="../media/image25.jp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svg"/><Relationship Id="rId11" Type="http://schemas.openxmlformats.org/officeDocument/2006/relationships/image" Target="../media/image54.jp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.sv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4" Type="http://schemas.openxmlformats.org/officeDocument/2006/relationships/hyperlink" Target="https://www.sqlpassion.at/archive/2015/01/22/sql-server-windowing-functions-rows-vs-range/" TargetMode="Externa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sqlkover.com/cool-stuff-in-snowflake-part-13-row-pattern-recognition/" TargetMode="External"/><Relationship Id="rId3" Type="http://schemas.openxmlformats.org/officeDocument/2006/relationships/image" Target="../media/image72.png"/><Relationship Id="rId7" Type="http://schemas.openxmlformats.org/officeDocument/2006/relationships/hyperlink" Target="https://sqlperformance.com/2021/01/t-sql-queries/number-series-solutions-1" TargetMode="External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itprotoday.com/sql-server/logical-query-processing-what-it-is-and-what-it-means-to-you" TargetMode="External"/><Relationship Id="rId5" Type="http://schemas.openxmlformats.org/officeDocument/2006/relationships/hyperlink" Target="https://www.mssqltips.com/sqlservertutorial/9121/sql-server-t-sql-window-functions-tutorial/" TargetMode="External"/><Relationship Id="rId10" Type="http://schemas.openxmlformats.org/officeDocument/2006/relationships/image" Target="../media/image55.jpeg"/><Relationship Id="rId4" Type="http://schemas.openxmlformats.org/officeDocument/2006/relationships/hyperlink" Target="https://learn.microsoft.com/en-us/sql/t-sql/queries/select-over-clause-transact-sql?view=sql-server-ver16" TargetMode="External"/><Relationship Id="rId9" Type="http://schemas.openxmlformats.org/officeDocument/2006/relationships/hyperlink" Target="https://sqlkover.com/cool-stuff-in-snowflake-part-5-finding-previous-non-null-value/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8.jf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E5395D9-5BD4-1DE2-DF21-C8736C0235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ackling the Gaps &amp; Islands Problem</a:t>
            </a:r>
            <a:endParaRPr lang="nl-BE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4B692977-2123-AB32-F842-9F8D55B6C7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963105"/>
            <a:ext cx="7674590" cy="728803"/>
          </a:xfrm>
        </p:spPr>
        <p:txBody>
          <a:bodyPr>
            <a:normAutofit fontScale="47500" lnSpcReduction="20000"/>
          </a:bodyPr>
          <a:lstStyle/>
          <a:p>
            <a:r>
              <a:rPr lang="en-US" sz="8800" dirty="0"/>
              <a:t>With T-SQL Window Functions</a:t>
            </a:r>
            <a:endParaRPr lang="nl-BE" sz="3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FCD1E3-3933-5737-B1CA-E62CAFAAEE0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679113" y="6211888"/>
            <a:ext cx="1512887" cy="365125"/>
          </a:xfrm>
        </p:spPr>
        <p:txBody>
          <a:bodyPr/>
          <a:lstStyle/>
          <a:p>
            <a:fld id="{C0B2EF14-4A5E-9745-A203-CFD0647536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1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0CABDEA-15E5-BEE6-4993-A6EB74C3B560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8BD2E20-DB25-4EE8-E9F9-DB66825331E9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017909A-5733-5120-41E7-2F496E238469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BE5A7FB-24A3-36B2-88DA-BA4B012AD0D3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AFDF9E3-B7AC-2738-AE63-2922D7C007BE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GB" sz="2500" b="1" cap="none" spc="0" dirty="0">
                    <a:ln w="0"/>
                    <a:solidFill>
                      <a:schemeClr val="bg1"/>
                    </a:solidFill>
                  </a:rPr>
                  <a:t>EXAMPLE</a:t>
                </a:r>
                <a:r>
                  <a:rPr lang="en-GB" sz="2500" b="1" cap="none" spc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 2</a:t>
                </a:r>
              </a:p>
            </p:txBody>
          </p:sp>
        </p:grp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D378AEEB-926F-4E9B-F97B-B743285AD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6B4A2-01E6-3AD3-883D-21BD0F77F8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ELECT</a:t>
            </a: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mp.CustomerAlternateKey</a:t>
            </a:r>
            <a:endParaRPr lang="nl-BE" sz="2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,</a:t>
            </a:r>
            <a:r>
              <a:rPr lang="nl-BE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mp.SalesAmount</a:t>
            </a:r>
            <a:endParaRPr lang="nl-BE" sz="2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Rank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FF"/>
                </a:solidFill>
                <a:latin typeface="Consolas" panose="020B0609020204030204" pitchFamily="49" charset="0"/>
              </a:rPr>
              <a:t>RANK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mp</a:t>
            </a:r>
            <a:r>
              <a:rPr lang="en-US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ROM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( -- first calculate the sales amount for each customer</a:t>
            </a: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SELECT</a:t>
            </a: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</a:t>
            </a:r>
            <a:r>
              <a:rPr lang="nl-BE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.CustomerAlternateKey</a:t>
            </a:r>
            <a:endParaRPr lang="nl-BE" sz="2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,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ROM </a:t>
            </a:r>
            <a:r>
              <a:rPr lang="nl-BE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dbo.FactInternetSales</a:t>
            </a:r>
            <a:r>
              <a:rPr lang="nl-BE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f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JOIN </a:t>
            </a:r>
            <a:r>
              <a:rPr lang="en-US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dbo.DimCustomer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c ON </a:t>
            </a:r>
            <a:r>
              <a:rPr lang="en-US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.CustomerKey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= </a:t>
            </a:r>
            <a:r>
              <a:rPr lang="en-US" sz="2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.CustomerKey</a:t>
            </a:r>
            <a:endParaRPr lang="en-US" sz="2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AlternateKey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) </a:t>
            </a:r>
            <a:r>
              <a:rPr lang="nl-BE" sz="2000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tmp</a:t>
            </a:r>
            <a:r>
              <a:rPr lang="nl-BE" sz="20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;</a:t>
            </a:r>
            <a:endParaRPr lang="nl-BE" sz="3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450BF-5F02-3FCC-6CFC-16D2EC3EB8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F93C8A-354C-5C01-CC08-AE2E32D41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3192" y="1184031"/>
            <a:ext cx="6378808" cy="567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2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34D4A9-FBA9-C801-D8CB-60C808268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4397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Since SQL Server 2012 - real window func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3B29D-472F-7FE6-BAD1-EAF1BAF045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75A9A9D-9D3C-7EF0-9290-15DD4DF8B738}"/>
              </a:ext>
            </a:extLst>
          </p:cNvPr>
          <p:cNvSpPr txBox="1">
            <a:spLocks/>
          </p:cNvSpPr>
          <p:nvPr/>
        </p:nvSpPr>
        <p:spPr>
          <a:xfrm>
            <a:off x="838200" y="1910161"/>
            <a:ext cx="11353800" cy="49478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68000" indent="-468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CTE_source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AS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b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Month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100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+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]       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Quantity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Quantity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7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FactResellerSales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100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+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7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Month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Quantity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RunningTotal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Quantity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[Year]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              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Month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              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ROWS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BETWEEN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UNBOUNDED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PRECEDING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							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CURRENT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ROW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              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CTE_source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Month</a:t>
            </a:r>
            <a:r>
              <a:rPr lang="nl-BE" sz="17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7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4D61D9-D318-DE72-D8C3-5B7EDAB7F58B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8408DB0-0A14-C6A7-F5D5-F8E0DE1091FA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1D7991B-C072-54B2-6071-71C0CE6FDBD7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FF65150-9E20-705C-A758-E9F306B023DC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0A6A208-EC3F-4A71-039E-EE6391785AED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GB" sz="2500" b="1" cap="none" spc="0" dirty="0">
                    <a:ln w="0"/>
                    <a:solidFill>
                      <a:schemeClr val="bg1"/>
                    </a:solidFill>
                  </a:rPr>
                  <a:t>EXAMPLE</a:t>
                </a:r>
                <a:r>
                  <a:rPr lang="en-GB" sz="2500" b="1" cap="none" spc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 3</a:t>
                </a:r>
              </a:p>
            </p:txBody>
          </p:sp>
        </p:grp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D76F166-D763-6FD7-C3FD-3D21B32F0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526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140E3188-5B60-5EAB-FE45-DFD5ED388FDF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8239633-06FB-4124-301E-8313A9C359C8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FF80EF93-3208-63DC-C2D0-07367FD39809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FE5D034D-B79B-A77C-838C-02882F7C4354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A62A711F-A830-958E-5533-E9D8996C1D71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GB" sz="2500" b="1" cap="none" spc="0" dirty="0">
                    <a:ln w="0"/>
                    <a:solidFill>
                      <a:schemeClr val="bg1"/>
                    </a:solidFill>
                  </a:rPr>
                  <a:t>EXAMPLE</a:t>
                </a:r>
                <a:r>
                  <a:rPr lang="en-GB" sz="2500" b="1" cap="none" spc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 3</a:t>
                </a:r>
              </a:p>
            </p:txBody>
          </p:sp>
        </p:grp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91B7BDBC-AECA-40AB-1B0F-5C1C3A085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34D4A9-FBA9-C801-D8CB-60C808268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4397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ince SQL Server 2012 - real window func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3B29D-472F-7FE6-BAD1-EAF1BAF045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75A9A9D-9D3C-7EF0-9290-15DD4DF8B738}"/>
              </a:ext>
            </a:extLst>
          </p:cNvPr>
          <p:cNvSpPr txBox="1">
            <a:spLocks/>
          </p:cNvSpPr>
          <p:nvPr/>
        </p:nvSpPr>
        <p:spPr>
          <a:xfrm>
            <a:off x="838200" y="1910161"/>
            <a:ext cx="11353800" cy="49478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WITH 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TE_source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AS (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SELECT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</a:t>
            </a:r>
            <a:r>
              <a:rPr lang="en-US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YearMonth</a:t>
            </a: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= YEAR(</a:t>
            </a:r>
            <a:r>
              <a:rPr lang="en-US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 * 100 + MONTH(</a:t>
            </a:r>
            <a:r>
              <a:rPr lang="en-US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,[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Year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]         = YEAR(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,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Quantity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= SUM(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Quantity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FROM 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dbo.FactResellerSales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GROUP BY YEAR(</a:t>
            </a:r>
            <a:r>
              <a:rPr lang="en-US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 * 100 + MONTH(</a:t>
            </a:r>
            <a:r>
              <a:rPr lang="en-US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en-US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   ,YEAR(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ELECT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YearMonth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,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Quantity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RunningTotal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Quantity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[Year]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              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7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Month</a:t>
            </a:r>
            <a:br>
              <a:rPr lang="nl-BE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              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ROWS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BETWEEN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UNBOUNDED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PRECEDING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							</a:t>
            </a:r>
            <a:r>
              <a:rPr lang="en-US" sz="17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CURRENT</a:t>
            </a:r>
            <a: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700" dirty="0">
                <a:solidFill>
                  <a:srgbClr val="0000FF"/>
                </a:solidFill>
                <a:latin typeface="Consolas" panose="020B0609020204030204" pitchFamily="49" charset="0"/>
              </a:rPr>
              <a:t>ROW</a:t>
            </a:r>
            <a:br>
              <a:rPr lang="en-US" sz="17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                                   )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ROM 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TE_source</a:t>
            </a:r>
            <a:b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 BY </a:t>
            </a:r>
            <a:r>
              <a:rPr lang="nl-BE" sz="17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YearMonth</a:t>
            </a:r>
            <a:r>
              <a:rPr lang="nl-BE" sz="17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;</a:t>
            </a:r>
            <a:endParaRPr lang="nl-BE" sz="17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4983AB-3279-3B2B-724F-EFDF39FBC6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7663" y="28545"/>
            <a:ext cx="5404338" cy="682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77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7EE18-2DA2-101A-674C-90FAB8A54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549E9-9DCB-A09F-B4FA-E53704E90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F37562-8CBF-2937-C500-9140F50C0B2B}"/>
              </a:ext>
            </a:extLst>
          </p:cNvPr>
          <p:cNvSpPr txBox="1"/>
          <p:nvPr/>
        </p:nvSpPr>
        <p:spPr>
          <a:xfrm>
            <a:off x="5117352" y="2116416"/>
            <a:ext cx="53750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The </a:t>
            </a:r>
            <a:r>
              <a:rPr lang="en-US" sz="2000" b="1" dirty="0">
                <a:solidFill>
                  <a:srgbClr val="FF0000"/>
                </a:solidFill>
              </a:rPr>
              <a:t>PARTITION BY </a:t>
            </a:r>
            <a:r>
              <a:rPr lang="en-US" sz="2000" dirty="0">
                <a:solidFill>
                  <a:srgbClr val="FF0000"/>
                </a:solidFill>
              </a:rPr>
              <a:t>defines the windows, one for each year</a:t>
            </a:r>
            <a:endParaRPr lang="nl-BE" sz="2000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65F191-2D65-F28F-BD59-EA91E40E45E2}"/>
              </a:ext>
            </a:extLst>
          </p:cNvPr>
          <p:cNvSpPr txBox="1"/>
          <p:nvPr/>
        </p:nvSpPr>
        <p:spPr>
          <a:xfrm>
            <a:off x="5117352" y="3174357"/>
            <a:ext cx="53750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33EC1"/>
                </a:solidFill>
              </a:rPr>
              <a:t>The </a:t>
            </a:r>
            <a:r>
              <a:rPr lang="en-US" sz="2000" b="1" dirty="0">
                <a:solidFill>
                  <a:srgbClr val="033EC1"/>
                </a:solidFill>
              </a:rPr>
              <a:t>ORDER BY </a:t>
            </a:r>
            <a:r>
              <a:rPr lang="en-US" sz="2000" dirty="0">
                <a:solidFill>
                  <a:srgbClr val="033EC1"/>
                </a:solidFill>
              </a:rPr>
              <a:t>sorts the rows within the window. Here they’re sorted by month</a:t>
            </a:r>
            <a:endParaRPr lang="nl-BE" sz="2000" dirty="0">
              <a:solidFill>
                <a:srgbClr val="033EC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6467F5-D487-B168-6C95-1F0D9D505C31}"/>
              </a:ext>
            </a:extLst>
          </p:cNvPr>
          <p:cNvSpPr txBox="1"/>
          <p:nvPr/>
        </p:nvSpPr>
        <p:spPr>
          <a:xfrm>
            <a:off x="5117352" y="4242923"/>
            <a:ext cx="53750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The </a:t>
            </a:r>
            <a:r>
              <a:rPr lang="en-US" sz="2000" b="1" dirty="0">
                <a:solidFill>
                  <a:schemeClr val="accent1"/>
                </a:solidFill>
              </a:rPr>
              <a:t>ROWS BETWEEN UNBOUNDED PRECEDING AND CURRENT ROW </a:t>
            </a:r>
            <a:r>
              <a:rPr lang="en-US" sz="2000" dirty="0">
                <a:solidFill>
                  <a:schemeClr val="accent1"/>
                </a:solidFill>
              </a:rPr>
              <a:t>frame extent sum all previous rows and the current row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11044 + 8868 + 5355</a:t>
            </a:r>
            <a:br>
              <a:rPr lang="en-US" sz="2000" dirty="0">
                <a:solidFill>
                  <a:schemeClr val="accent1"/>
                </a:solidFill>
              </a:rPr>
            </a:br>
            <a:r>
              <a:rPr lang="en-US" sz="2000" dirty="0">
                <a:solidFill>
                  <a:schemeClr val="accent1"/>
                </a:solidFill>
              </a:rPr>
              <a:t>= 25267</a:t>
            </a:r>
            <a:endParaRPr lang="nl-BE" sz="2000" dirty="0">
              <a:solidFill>
                <a:srgbClr val="00B05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0CB7AA-7C6F-68F3-F410-67C4D4557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739" y="1816158"/>
            <a:ext cx="3319811" cy="4195241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19EB14EB-E6D0-022A-9500-B5A1179D453C}"/>
              </a:ext>
            </a:extLst>
          </p:cNvPr>
          <p:cNvGrpSpPr/>
          <p:nvPr/>
        </p:nvGrpSpPr>
        <p:grpSpPr>
          <a:xfrm>
            <a:off x="1380051" y="2325747"/>
            <a:ext cx="2882724" cy="3685652"/>
            <a:chOff x="1380051" y="2325747"/>
            <a:chExt cx="2882724" cy="368565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B50971E-3C02-90E9-C24D-7736E100D29F}"/>
                </a:ext>
              </a:extLst>
            </p:cNvPr>
            <p:cNvSpPr/>
            <p:nvPr/>
          </p:nvSpPr>
          <p:spPr>
            <a:xfrm>
              <a:off x="1385295" y="2562502"/>
              <a:ext cx="2877480" cy="2012415"/>
            </a:xfrm>
            <a:prstGeom prst="rect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FA85346-E096-2C0E-0A05-D75269D59053}"/>
                </a:ext>
              </a:extLst>
            </p:cNvPr>
            <p:cNvSpPr/>
            <p:nvPr/>
          </p:nvSpPr>
          <p:spPr>
            <a:xfrm>
              <a:off x="1385295" y="4574916"/>
              <a:ext cx="2877480" cy="1436483"/>
            </a:xfrm>
            <a:prstGeom prst="rect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B6E3B23-57D7-F525-2D7F-9EA184574D1B}"/>
                </a:ext>
              </a:extLst>
            </p:cNvPr>
            <p:cNvSpPr/>
            <p:nvPr/>
          </p:nvSpPr>
          <p:spPr>
            <a:xfrm>
              <a:off x="1380051" y="2325747"/>
              <a:ext cx="2877480" cy="236755"/>
            </a:xfrm>
            <a:prstGeom prst="rect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DDF5583-4727-EE91-153D-AF4BE5C7C5DA}"/>
              </a:ext>
            </a:extLst>
          </p:cNvPr>
          <p:cNvCxnSpPr>
            <a:cxnSpLocks/>
          </p:cNvCxnSpPr>
          <p:nvPr/>
        </p:nvCxnSpPr>
        <p:spPr>
          <a:xfrm>
            <a:off x="2137228" y="2562502"/>
            <a:ext cx="0" cy="2012415"/>
          </a:xfrm>
          <a:prstGeom prst="straightConnector1">
            <a:avLst/>
          </a:prstGeom>
          <a:ln w="57150">
            <a:solidFill>
              <a:srgbClr val="033E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A08E34F-9505-F20D-A4B6-A44F9854D969}"/>
              </a:ext>
            </a:extLst>
          </p:cNvPr>
          <p:cNvGrpSpPr/>
          <p:nvPr/>
        </p:nvGrpSpPr>
        <p:grpSpPr>
          <a:xfrm>
            <a:off x="2245116" y="4584022"/>
            <a:ext cx="1112310" cy="656279"/>
            <a:chOff x="3104835" y="4935415"/>
            <a:chExt cx="1431997" cy="94912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0714BBA-EDE3-0ABE-2383-9BAB411F7BF7}"/>
                </a:ext>
              </a:extLst>
            </p:cNvPr>
            <p:cNvSpPr/>
            <p:nvPr/>
          </p:nvSpPr>
          <p:spPr>
            <a:xfrm>
              <a:off x="3104835" y="4935415"/>
              <a:ext cx="927904" cy="949126"/>
            </a:xfrm>
            <a:prstGeom prst="rect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922D8C87-FA39-79C8-CABB-76F73E55944C}"/>
                </a:ext>
              </a:extLst>
            </p:cNvPr>
            <p:cNvCxnSpPr>
              <a:cxnSpLocks/>
            </p:cNvCxnSpPr>
            <p:nvPr/>
          </p:nvCxnSpPr>
          <p:spPr>
            <a:xfrm>
              <a:off x="4032739" y="5603631"/>
              <a:ext cx="504093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661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5E7D5-B751-8B93-EFB9-7C4ACD3AD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ut</a:t>
            </a:r>
            <a:r>
              <a:rPr lang="en-US" dirty="0"/>
              <a:t>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77A00F-B71F-6004-9FDF-0834F42EAD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[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    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Amou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GrandTotal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actResellerSales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5D4280-E0C0-4EA6-FE01-CD189A64FC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9067C3-0575-912D-A198-327642277321}"/>
              </a:ext>
            </a:extLst>
          </p:cNvPr>
          <p:cNvSpPr/>
          <p:nvPr/>
        </p:nvSpPr>
        <p:spPr>
          <a:xfrm>
            <a:off x="3644900" y="2682829"/>
            <a:ext cx="1041400" cy="304800"/>
          </a:xfrm>
          <a:prstGeom prst="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568C1F-072D-7BD7-D7A6-7BC93A1CC2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6133" y="4089401"/>
            <a:ext cx="4371459" cy="154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3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12816" cy="1903106"/>
          </a:xfrm>
        </p:spPr>
        <p:txBody>
          <a:bodyPr>
            <a:normAutofit/>
          </a:bodyPr>
          <a:lstStyle/>
          <a:p>
            <a:r>
              <a:rPr lang="en-US" dirty="0"/>
              <a:t>Common </a:t>
            </a:r>
            <a:br>
              <a:rPr lang="en-US" dirty="0"/>
            </a:br>
            <a:r>
              <a:rPr lang="en-US" dirty="0"/>
              <a:t>use cas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95294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C98108D-8A4F-8AA6-6A23-E04E22AC0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dia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13CD7B8-46D8-184E-55AD-21AC697F0E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ISTINCT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partmentNam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dianR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PERCENTILE_CONT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0.5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seRat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epartmentNam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dventureWorksDW2019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DimEmployee</a:t>
            </a: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edianR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9D4DCD-5DCB-8B87-5555-E80957A52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5041" y="2356601"/>
            <a:ext cx="3616960" cy="450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01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CF2C4D-43F0-08F5-58F3-735986EC4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GE vs ROW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A81A09-3518-DBF4-6D3E-A83CE1B224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[Group]</a:t>
            </a:r>
          </a:p>
          <a:p>
            <a:pPr marL="0" indent="0">
              <a:buNone/>
            </a:pP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Value]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owsTes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Value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Group]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Value]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OW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BETWEE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UNBOUND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RECEDING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URRE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OW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angeTes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Value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Group]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Value]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ANG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BETWEE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UNBOUND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RECEDING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URRE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OW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est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estRangeRow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1D3787-9703-4797-B428-EF68B0F09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BD607D-30CD-4AB2-3076-0AEA4E1D6CA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72"/>
          <a:stretch/>
        </p:blipFill>
        <p:spPr>
          <a:xfrm>
            <a:off x="5019040" y="4394944"/>
            <a:ext cx="3206839" cy="246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0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50E6E-673C-2985-D586-7346749B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aling with duplicat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F5CCFE-9E3C-B962-9637-E0CD6D20E1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te_src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ID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Key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nsertDat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RID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ROW_NUMBER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Ke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nsertDat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est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Duplicat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DELE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est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Duplicate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Test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Duplic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ed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te_src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c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e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ID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&gt;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7E339B-0CE9-DD48-20AE-8DB49EA97D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0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50E6E-673C-2985-D586-7346749B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aling with duplicat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F5CCFE-9E3C-B962-9637-E0CD6D20E1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te_src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AS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(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SELECT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ID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,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EmployeeKey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,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EmployeeName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,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InsertDat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RID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ROW_NUMBER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EmployeeKe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nsertDat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FROM 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est.dbo.EmployeeDuplicate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DELETE FROM </a:t>
            </a:r>
            <a:r>
              <a:rPr lang="en-US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est.dbo.EmployeeDuplicate</a:t>
            </a:r>
            <a:b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ROM </a:t>
            </a:r>
            <a:r>
              <a:rPr lang="en-US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est.dbo.EmployeeDuplicate</a:t>
            </a: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ed</a:t>
            </a:r>
            <a:b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JOIN 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te_src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           c ON ed.ID = c.ID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&gt;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7E339B-0CE9-DD48-20AE-8DB49EA97D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83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E866490-0D4D-160B-E473-1E0652A296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25094" y="4896992"/>
            <a:ext cx="1814977" cy="93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36600D68-5616-24D9-48A5-5F217D335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3499" y="1055248"/>
            <a:ext cx="1778000" cy="75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20441374-7782-0381-160E-6F0AB5077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73352" y="4054503"/>
            <a:ext cx="1866900" cy="6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CD81E799-97E9-5C57-B131-FCC56FA21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758795" y="1402101"/>
            <a:ext cx="1696014" cy="295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>
            <a:extLst>
              <a:ext uri="{FF2B5EF4-FFF2-40B4-BE49-F238E27FC236}">
                <a16:creationId xmlns:a16="http://schemas.microsoft.com/office/drawing/2014/main" id="{DF5B1D89-1A26-A465-B63E-CEB789753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04631" y="4022126"/>
            <a:ext cx="1230459" cy="636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>
            <a:extLst>
              <a:ext uri="{FF2B5EF4-FFF2-40B4-BE49-F238E27FC236}">
                <a16:creationId xmlns:a16="http://schemas.microsoft.com/office/drawing/2014/main" id="{BF5F59A3-63CF-9567-9348-97F3A6BA5A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876" y="3069205"/>
            <a:ext cx="1262560" cy="653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>
            <a:extLst>
              <a:ext uri="{FF2B5EF4-FFF2-40B4-BE49-F238E27FC236}">
                <a16:creationId xmlns:a16="http://schemas.microsoft.com/office/drawing/2014/main" id="{1754C16A-2E1E-2B7E-1497-2A34ADDC33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876" y="2026139"/>
            <a:ext cx="1262560" cy="653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42">
            <a:extLst>
              <a:ext uri="{FF2B5EF4-FFF2-40B4-BE49-F238E27FC236}">
                <a16:creationId xmlns:a16="http://schemas.microsoft.com/office/drawing/2014/main" id="{239EA178-22AC-E7B3-3511-0240F490EF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1499" y="5785723"/>
            <a:ext cx="1929251" cy="998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92C13BF-25E2-7F07-3995-A95D902A38C6}"/>
              </a:ext>
            </a:extLst>
          </p:cNvPr>
          <p:cNvSpPr txBox="1"/>
          <p:nvPr/>
        </p:nvSpPr>
        <p:spPr>
          <a:xfrm>
            <a:off x="308211" y="72078"/>
            <a:ext cx="8570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Thank you, partners 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💖</a:t>
            </a:r>
            <a:endParaRPr kumimoji="0" lang="LID4096" sz="5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pic>
        <p:nvPicPr>
          <p:cNvPr id="4" name="Picture 18">
            <a:extLst>
              <a:ext uri="{FF2B5EF4-FFF2-40B4-BE49-F238E27FC236}">
                <a16:creationId xmlns:a16="http://schemas.microsoft.com/office/drawing/2014/main" id="{B6530801-1CC0-4B1B-94DA-5DB46863C4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79441" y="4130930"/>
            <a:ext cx="1225663" cy="45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>
            <a:extLst>
              <a:ext uri="{FF2B5EF4-FFF2-40B4-BE49-F238E27FC236}">
                <a16:creationId xmlns:a16="http://schemas.microsoft.com/office/drawing/2014/main" id="{6B04451F-DB01-5042-012E-0FDDE54F3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70582" y="1335986"/>
            <a:ext cx="1605611" cy="362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8">
            <a:extLst>
              <a:ext uri="{FF2B5EF4-FFF2-40B4-BE49-F238E27FC236}">
                <a16:creationId xmlns:a16="http://schemas.microsoft.com/office/drawing/2014/main" id="{4652D4E1-7513-2A7E-35EA-F12397AC32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2505" y="3167602"/>
            <a:ext cx="2183316" cy="450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0">
            <a:extLst>
              <a:ext uri="{FF2B5EF4-FFF2-40B4-BE49-F238E27FC236}">
                <a16:creationId xmlns:a16="http://schemas.microsoft.com/office/drawing/2014/main" id="{CA3FA7CB-71EA-EE1F-A6BD-79521544F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52435" y="3182778"/>
            <a:ext cx="1351835" cy="35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54C4797-07FC-102B-CF70-B58537D8F708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26" b="31998"/>
          <a:stretch/>
        </p:blipFill>
        <p:spPr>
          <a:xfrm>
            <a:off x="6984580" y="2114992"/>
            <a:ext cx="2032368" cy="560681"/>
          </a:xfrm>
          <a:prstGeom prst="rect">
            <a:avLst/>
          </a:prstGeom>
        </p:spPr>
      </p:pic>
      <p:pic>
        <p:nvPicPr>
          <p:cNvPr id="17" name="Picture 16" descr="A blue and white logo&#10;&#10;Description automatically generated">
            <a:extLst>
              <a:ext uri="{FF2B5EF4-FFF2-40B4-BE49-F238E27FC236}">
                <a16:creationId xmlns:a16="http://schemas.microsoft.com/office/drawing/2014/main" id="{38B87471-39BA-0D13-9715-5AE03F8887F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447" y="4112271"/>
            <a:ext cx="1399636" cy="627293"/>
          </a:xfrm>
          <a:prstGeom prst="rect">
            <a:avLst/>
          </a:prstGeom>
        </p:spPr>
      </p:pic>
      <p:pic>
        <p:nvPicPr>
          <p:cNvPr id="5" name="Picture 4" descr="A logo with a purple and blue design&#10;&#10;Description automatically generated">
            <a:extLst>
              <a:ext uri="{FF2B5EF4-FFF2-40B4-BE49-F238E27FC236}">
                <a16:creationId xmlns:a16="http://schemas.microsoft.com/office/drawing/2014/main" id="{6EDBD9B7-7E51-9C36-7FF9-BBD171E26FC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280" y="136245"/>
            <a:ext cx="743431" cy="743431"/>
          </a:xfrm>
          <a:prstGeom prst="rect">
            <a:avLst/>
          </a:prstGeom>
        </p:spPr>
      </p:pic>
      <p:pic>
        <p:nvPicPr>
          <p:cNvPr id="7" name="Picture 6" descr="A black background with grey text&#10;&#10;Description automatically generated">
            <a:extLst>
              <a:ext uri="{FF2B5EF4-FFF2-40B4-BE49-F238E27FC236}">
                <a16:creationId xmlns:a16="http://schemas.microsoft.com/office/drawing/2014/main" id="{2F8249F5-99E0-6788-3537-A214B619373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574" y="1094728"/>
            <a:ext cx="1702912" cy="881390"/>
          </a:xfrm>
          <a:prstGeom prst="rect">
            <a:avLst/>
          </a:prstGeom>
        </p:spPr>
      </p:pic>
      <p:pic>
        <p:nvPicPr>
          <p:cNvPr id="16" name="Picture 15" descr="A blue letters on a black background&#10;&#10;Description automatically generated">
            <a:extLst>
              <a:ext uri="{FF2B5EF4-FFF2-40B4-BE49-F238E27FC236}">
                <a16:creationId xmlns:a16="http://schemas.microsoft.com/office/drawing/2014/main" id="{8CD62D42-0625-219B-10CF-3AD32E9F2E2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11" y="2261704"/>
            <a:ext cx="2004539" cy="450967"/>
          </a:xfrm>
          <a:prstGeom prst="rect">
            <a:avLst/>
          </a:prstGeom>
        </p:spPr>
      </p:pic>
      <p:pic>
        <p:nvPicPr>
          <p:cNvPr id="20" name="Picture 19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AB6317DA-1541-6E13-4C39-C5E5DDF6A94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8711" y="2059197"/>
            <a:ext cx="1933418" cy="575955"/>
          </a:xfrm>
          <a:prstGeom prst="rect">
            <a:avLst/>
          </a:prstGeom>
        </p:spPr>
      </p:pic>
      <p:pic>
        <p:nvPicPr>
          <p:cNvPr id="22" name="Picture 21" descr="A close-up of a logo&#10;&#10;Description automatically generated">
            <a:extLst>
              <a:ext uri="{FF2B5EF4-FFF2-40B4-BE49-F238E27FC236}">
                <a16:creationId xmlns:a16="http://schemas.microsoft.com/office/drawing/2014/main" id="{5476C600-5EA8-6522-2B1C-71FA0F66B30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6652" y="5105526"/>
            <a:ext cx="2413289" cy="674069"/>
          </a:xfrm>
          <a:prstGeom prst="rect">
            <a:avLst/>
          </a:prstGeom>
        </p:spPr>
      </p:pic>
      <p:pic>
        <p:nvPicPr>
          <p:cNvPr id="26" name="Picture 25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1DFD5075-8E3C-62F1-8DCE-71C254D26A0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5828" y="3016251"/>
            <a:ext cx="1972890" cy="712556"/>
          </a:xfrm>
          <a:prstGeom prst="rect">
            <a:avLst/>
          </a:prstGeom>
        </p:spPr>
      </p:pic>
      <p:pic>
        <p:nvPicPr>
          <p:cNvPr id="28" name="Picture 27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C3F88812-7B43-33FE-3C88-53959DC2585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903" y="5846464"/>
            <a:ext cx="1694538" cy="877056"/>
          </a:xfrm>
          <a:prstGeom prst="rect">
            <a:avLst/>
          </a:prstGeom>
        </p:spPr>
      </p:pic>
      <p:pic>
        <p:nvPicPr>
          <p:cNvPr id="30" name="Picture 29" descr="A black and white logo&#10;&#10;Description automatically generated">
            <a:extLst>
              <a:ext uri="{FF2B5EF4-FFF2-40B4-BE49-F238E27FC236}">
                <a16:creationId xmlns:a16="http://schemas.microsoft.com/office/drawing/2014/main" id="{4784D16E-5D47-559D-D2D9-FDE9D702D8E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793" y="6071613"/>
            <a:ext cx="1682642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828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D83A4-7CBD-0E13-C09B-9E3875984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lly tabl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75840-839D-5F39-663D-4384D1D814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0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N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VALUES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,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mp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N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    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T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N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0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CROS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0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b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    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T2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N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CROS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b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    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T3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N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2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CROS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2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b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    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T4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N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3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CROS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T3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b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TEAD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ROW_NUMBER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</a:t>
            </a:r>
            <a:b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)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’2024-01-01'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T4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endParaRPr lang="nl-BE" sz="1800" dirty="0">
              <a:solidFill>
                <a:srgbClr val="80808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 err="1"/>
              <a:t>this</a:t>
            </a:r>
            <a:r>
              <a:rPr lang="nl-BE" dirty="0"/>
              <a:t> </a:t>
            </a:r>
            <a:r>
              <a:rPr lang="nl-BE" dirty="0" err="1"/>
              <a:t>will</a:t>
            </a:r>
            <a:r>
              <a:rPr lang="nl-BE" dirty="0"/>
              <a:t> </a:t>
            </a:r>
            <a:r>
              <a:rPr lang="nl-BE" dirty="0" err="1"/>
              <a:t>quickly</a:t>
            </a:r>
            <a:r>
              <a:rPr lang="nl-BE" dirty="0"/>
              <a:t> </a:t>
            </a:r>
            <a:r>
              <a:rPr lang="nl-BE" dirty="0" err="1"/>
              <a:t>generate</a:t>
            </a:r>
            <a:r>
              <a:rPr lang="nl-BE" dirty="0"/>
              <a:t> 65K </a:t>
            </a:r>
            <a:r>
              <a:rPr lang="nl-BE" dirty="0" err="1"/>
              <a:t>rows</a:t>
            </a:r>
            <a:br>
              <a:rPr lang="nl-BE" dirty="0"/>
            </a:br>
            <a:br>
              <a:rPr lang="nl-BE" dirty="0"/>
            </a:br>
            <a:r>
              <a:rPr lang="nl-BE" dirty="0" err="1"/>
              <a:t>use</a:t>
            </a:r>
            <a:r>
              <a:rPr lang="nl-BE" dirty="0"/>
              <a:t> </a:t>
            </a:r>
            <a:r>
              <a:rPr lang="nl-BE" dirty="0" err="1"/>
              <a:t>it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replace</a:t>
            </a:r>
            <a:r>
              <a:rPr lang="nl-BE" dirty="0"/>
              <a:t> loops </a:t>
            </a:r>
            <a:r>
              <a:rPr lang="nl-BE" dirty="0" err="1"/>
              <a:t>with</a:t>
            </a:r>
            <a:r>
              <a:rPr lang="nl-BE" dirty="0"/>
              <a:t> set-</a:t>
            </a:r>
            <a:r>
              <a:rPr lang="nl-BE" dirty="0" err="1"/>
              <a:t>based</a:t>
            </a:r>
            <a:r>
              <a:rPr lang="nl-BE" dirty="0"/>
              <a:t> log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964C1F-8CAF-139B-110D-596BAB9DD2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6FEDE3-CCA2-D6C4-7081-5114C4E23F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3662" y="0"/>
            <a:ext cx="37583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87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5AA14-1279-6C0B-027A-C9F196A41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 other row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FEF58-DE0C-FA52-429D-87BBE430F5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TE_PY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[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       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Amou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Amount PY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LAG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dventureWorksDW2019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FactResellerSales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[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Amou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Amount Previous Year]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YoY Growth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00.0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Amount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Sales Amount Previous Year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/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Sales Amount Previous Year]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TE_PY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Year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726938-766E-BB81-5C71-8E4AF5BAED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9B9E5D-9C60-FE38-DCFA-0B914AE055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4701" y="5559999"/>
            <a:ext cx="6337300" cy="129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2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5AA14-1279-6C0B-027A-C9F196A41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 other row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8FEF58-DE0C-FA52-429D-87BBE430F5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WITH CTE_PY AS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(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SELECT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[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]            = YEAR(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,[Sales 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Amount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]    = SUM(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alesAmount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Sales Amount PY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LAG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959797"/>
                </a:solidFill>
                <a:latin typeface="Consolas" panose="020B0609020204030204" pitchFamily="49" charset="0"/>
              </a:rPr>
              <a:t>  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ROM AdventureWorksDW2019.dbo.FactResellerSales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GROUP BY YEAR(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[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Year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]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,[Sales </a:t>
            </a:r>
            <a:r>
              <a:rPr lang="nl-BE" sz="18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Amount</a:t>
            </a: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]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,[Sales Amount Previous Year]</a:t>
            </a:r>
            <a:b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,[YoY Growth] = 100.0 * ([Sales Amount] - [Sales Amount Previous Year])</a:t>
            </a:r>
            <a:b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           / [Sales Amount Previous Year]</a:t>
            </a:r>
            <a:b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ROM CTE_PY</a:t>
            </a:r>
            <a:br>
              <a:rPr lang="nl-BE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ORDER BY [Year];</a:t>
            </a:r>
            <a:endParaRPr lang="nl-B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726938-766E-BB81-5C71-8E4AF5BAED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9B9E5D-9C60-FE38-DCFA-0B914AE055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4701" y="5559999"/>
            <a:ext cx="6337300" cy="129800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25B1373-9C48-BB68-BE81-4899619FF733}"/>
              </a:ext>
            </a:extLst>
          </p:cNvPr>
          <p:cNvCxnSpPr>
            <a:cxnSpLocks/>
          </p:cNvCxnSpPr>
          <p:nvPr/>
        </p:nvCxnSpPr>
        <p:spPr>
          <a:xfrm flipH="1" flipV="1">
            <a:off x="7819958" y="5843789"/>
            <a:ext cx="333442" cy="368300"/>
          </a:xfrm>
          <a:prstGeom prst="straightConnector1">
            <a:avLst/>
          </a:prstGeom>
          <a:ln w="38100">
            <a:solidFill>
              <a:srgbClr val="216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4F92B8-03BF-C17A-7FE1-94E42F3657F5}"/>
              </a:ext>
            </a:extLst>
          </p:cNvPr>
          <p:cNvCxnSpPr>
            <a:cxnSpLocks/>
          </p:cNvCxnSpPr>
          <p:nvPr/>
        </p:nvCxnSpPr>
        <p:spPr>
          <a:xfrm flipH="1" flipV="1">
            <a:off x="7807258" y="6097789"/>
            <a:ext cx="333442" cy="368300"/>
          </a:xfrm>
          <a:prstGeom prst="straightConnector1">
            <a:avLst/>
          </a:prstGeom>
          <a:ln w="38100">
            <a:solidFill>
              <a:srgbClr val="216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A0A98CB-8A77-7194-6BA2-8A9215699935}"/>
              </a:ext>
            </a:extLst>
          </p:cNvPr>
          <p:cNvCxnSpPr>
            <a:cxnSpLocks/>
          </p:cNvCxnSpPr>
          <p:nvPr/>
        </p:nvCxnSpPr>
        <p:spPr>
          <a:xfrm flipH="1" flipV="1">
            <a:off x="7807258" y="6377189"/>
            <a:ext cx="333442" cy="368300"/>
          </a:xfrm>
          <a:prstGeom prst="straightConnector1">
            <a:avLst/>
          </a:prstGeom>
          <a:ln w="38100">
            <a:solidFill>
              <a:srgbClr val="216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00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12816" cy="1903106"/>
          </a:xfrm>
        </p:spPr>
        <p:txBody>
          <a:bodyPr>
            <a:normAutofit/>
          </a:bodyPr>
          <a:lstStyle/>
          <a:p>
            <a:r>
              <a:rPr lang="en-US" dirty="0"/>
              <a:t>The gaps &amp; islands proble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681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44149C-0029-19EC-4C67-8ED62E669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734677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Common analytics problem</a:t>
            </a:r>
            <a:endParaRPr lang="nl-BE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E8A5F5-DBDD-3C62-323F-4908C2DE1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ps &amp; islands problem</a:t>
            </a:r>
            <a:endParaRPr lang="nl-BE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118AF50-5776-24AC-798C-5F1332B57231}"/>
              </a:ext>
            </a:extLst>
          </p:cNvPr>
          <p:cNvGrpSpPr/>
          <p:nvPr/>
        </p:nvGrpSpPr>
        <p:grpSpPr>
          <a:xfrm>
            <a:off x="1931384" y="3711703"/>
            <a:ext cx="8954620" cy="373646"/>
            <a:chOff x="1931384" y="3711703"/>
            <a:chExt cx="8954620" cy="37364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CA3F402-3A41-DDCB-0390-67E55F47719E}"/>
                </a:ext>
              </a:extLst>
            </p:cNvPr>
            <p:cNvSpPr/>
            <p:nvPr/>
          </p:nvSpPr>
          <p:spPr>
            <a:xfrm>
              <a:off x="1931384" y="3711703"/>
              <a:ext cx="2190340" cy="37364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15731CA-AE7B-7FF0-5EE1-572F5A158B89}"/>
                </a:ext>
              </a:extLst>
            </p:cNvPr>
            <p:cNvSpPr/>
            <p:nvPr/>
          </p:nvSpPr>
          <p:spPr>
            <a:xfrm>
              <a:off x="4649981" y="3711703"/>
              <a:ext cx="618448" cy="37364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66458BA-0E97-68F1-E084-194258CFE098}"/>
                </a:ext>
              </a:extLst>
            </p:cNvPr>
            <p:cNvSpPr/>
            <p:nvPr/>
          </p:nvSpPr>
          <p:spPr>
            <a:xfrm>
              <a:off x="6595518" y="3711703"/>
              <a:ext cx="1391509" cy="37364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37179A4-C3DC-B96A-7905-75E9CBF6F5CB}"/>
                </a:ext>
              </a:extLst>
            </p:cNvPr>
            <p:cNvSpPr/>
            <p:nvPr/>
          </p:nvSpPr>
          <p:spPr>
            <a:xfrm>
              <a:off x="8811626" y="3711703"/>
              <a:ext cx="270571" cy="37364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114FF60-7CEB-597B-BDE9-E88123F300BE}"/>
                </a:ext>
              </a:extLst>
            </p:cNvPr>
            <p:cNvSpPr/>
            <p:nvPr/>
          </p:nvSpPr>
          <p:spPr>
            <a:xfrm>
              <a:off x="9178828" y="3711703"/>
              <a:ext cx="1707176" cy="373646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9E97E3-7595-08C2-B071-6896443EA453}"/>
              </a:ext>
            </a:extLst>
          </p:cNvPr>
          <p:cNvGrpSpPr/>
          <p:nvPr/>
        </p:nvGrpSpPr>
        <p:grpSpPr>
          <a:xfrm>
            <a:off x="1931382" y="2860901"/>
            <a:ext cx="8954622" cy="748952"/>
            <a:chOff x="1931382" y="2860901"/>
            <a:chExt cx="8954622" cy="74895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769EBB-816F-9D91-25CA-2B476C7EB66D}"/>
                </a:ext>
              </a:extLst>
            </p:cNvPr>
            <p:cNvSpPr txBox="1"/>
            <p:nvPr/>
          </p:nvSpPr>
          <p:spPr>
            <a:xfrm>
              <a:off x="2234164" y="2860901"/>
              <a:ext cx="15847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island</a:t>
              </a:r>
              <a:endParaRPr lang="nl-BE" sz="2000" dirty="0"/>
            </a:p>
          </p:txBody>
        </p:sp>
        <p:sp>
          <p:nvSpPr>
            <p:cNvPr id="15" name="Left Brace 14">
              <a:extLst>
                <a:ext uri="{FF2B5EF4-FFF2-40B4-BE49-F238E27FC236}">
                  <a16:creationId xmlns:a16="http://schemas.microsoft.com/office/drawing/2014/main" id="{401F4BAF-259C-9294-01AC-6C65DC069135}"/>
                </a:ext>
              </a:extLst>
            </p:cNvPr>
            <p:cNvSpPr/>
            <p:nvPr/>
          </p:nvSpPr>
          <p:spPr>
            <a:xfrm rot="5400000">
              <a:off x="2875160" y="2351831"/>
              <a:ext cx="302784" cy="2190340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FD38777-A110-0DC8-0E26-B0AFFCD0021A}"/>
                </a:ext>
              </a:extLst>
            </p:cNvPr>
            <p:cNvSpPr txBox="1"/>
            <p:nvPr/>
          </p:nvSpPr>
          <p:spPr>
            <a:xfrm>
              <a:off x="9259352" y="2860901"/>
              <a:ext cx="15847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island</a:t>
              </a:r>
              <a:endParaRPr lang="nl-BE" sz="2000" dirty="0"/>
            </a:p>
          </p:txBody>
        </p:sp>
        <p:sp>
          <p:nvSpPr>
            <p:cNvPr id="17" name="Left Brace 16">
              <a:extLst>
                <a:ext uri="{FF2B5EF4-FFF2-40B4-BE49-F238E27FC236}">
                  <a16:creationId xmlns:a16="http://schemas.microsoft.com/office/drawing/2014/main" id="{040AC031-8968-5660-C83C-581E76257343}"/>
                </a:ext>
              </a:extLst>
            </p:cNvPr>
            <p:cNvSpPr/>
            <p:nvPr/>
          </p:nvSpPr>
          <p:spPr>
            <a:xfrm rot="5400000">
              <a:off x="9894618" y="2618468"/>
              <a:ext cx="314245" cy="1668526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94EF0C2-EB69-4115-2CC2-9D049C94CC47}"/>
                </a:ext>
              </a:extLst>
            </p:cNvPr>
            <p:cNvSpPr txBox="1"/>
            <p:nvPr/>
          </p:nvSpPr>
          <p:spPr>
            <a:xfrm>
              <a:off x="6402252" y="2860901"/>
              <a:ext cx="15847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island</a:t>
              </a:r>
              <a:endParaRPr lang="nl-BE" sz="2000" dirty="0"/>
            </a:p>
          </p:txBody>
        </p:sp>
        <p:sp>
          <p:nvSpPr>
            <p:cNvPr id="19" name="Left Brace 18">
              <a:extLst>
                <a:ext uri="{FF2B5EF4-FFF2-40B4-BE49-F238E27FC236}">
                  <a16:creationId xmlns:a16="http://schemas.microsoft.com/office/drawing/2014/main" id="{066D550E-03BC-2E78-8552-38067C015BE0}"/>
                </a:ext>
              </a:extLst>
            </p:cNvPr>
            <p:cNvSpPr/>
            <p:nvPr/>
          </p:nvSpPr>
          <p:spPr>
            <a:xfrm rot="5400000">
              <a:off x="7126992" y="2789904"/>
              <a:ext cx="302784" cy="1314194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C5772D1-B96F-0D7E-3D22-90B52F3E5159}"/>
                </a:ext>
              </a:extLst>
            </p:cNvPr>
            <p:cNvSpPr txBox="1"/>
            <p:nvPr/>
          </p:nvSpPr>
          <p:spPr>
            <a:xfrm>
              <a:off x="4166817" y="2860901"/>
              <a:ext cx="15847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island</a:t>
              </a:r>
              <a:endParaRPr lang="nl-BE" sz="2000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4627F47-2B75-2789-068C-14A326AF4550}"/>
                </a:ext>
              </a:extLst>
            </p:cNvPr>
            <p:cNvSpPr txBox="1"/>
            <p:nvPr/>
          </p:nvSpPr>
          <p:spPr>
            <a:xfrm>
              <a:off x="8154523" y="2860901"/>
              <a:ext cx="15847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island</a:t>
              </a:r>
              <a:endParaRPr lang="nl-BE" sz="2000" dirty="0"/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88353CE3-1725-0B7E-4D60-A4366EA75FB7}"/>
                </a:ext>
              </a:extLst>
            </p:cNvPr>
            <p:cNvCxnSpPr>
              <a:cxnSpLocks/>
              <a:stCxn id="21" idx="2"/>
            </p:cNvCxnSpPr>
            <p:nvPr/>
          </p:nvCxnSpPr>
          <p:spPr>
            <a:xfrm>
              <a:off x="8946911" y="3261011"/>
              <a:ext cx="1" cy="337383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Left Brace 23">
              <a:extLst>
                <a:ext uri="{FF2B5EF4-FFF2-40B4-BE49-F238E27FC236}">
                  <a16:creationId xmlns:a16="http://schemas.microsoft.com/office/drawing/2014/main" id="{1EC9AF74-589C-4627-1FA8-E91BB17AE781}"/>
                </a:ext>
              </a:extLst>
            </p:cNvPr>
            <p:cNvSpPr/>
            <p:nvPr/>
          </p:nvSpPr>
          <p:spPr>
            <a:xfrm rot="5400000">
              <a:off x="4868898" y="3102464"/>
              <a:ext cx="232157" cy="618447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AED7840-1947-B78E-E290-17553947B0E5}"/>
              </a:ext>
            </a:extLst>
          </p:cNvPr>
          <p:cNvGrpSpPr/>
          <p:nvPr/>
        </p:nvGrpSpPr>
        <p:grpSpPr>
          <a:xfrm>
            <a:off x="945729" y="4198658"/>
            <a:ext cx="10064778" cy="983157"/>
            <a:chOff x="945729" y="4198658"/>
            <a:chExt cx="10064778" cy="983157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4765640-36C1-EC6C-B87D-5ABA2D27AF90}"/>
                </a:ext>
              </a:extLst>
            </p:cNvPr>
            <p:cNvSpPr txBox="1"/>
            <p:nvPr/>
          </p:nvSpPr>
          <p:spPr>
            <a:xfrm>
              <a:off x="945729" y="4781705"/>
              <a:ext cx="11273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gap</a:t>
              </a:r>
              <a:endParaRPr lang="nl-BE" sz="2000" dirty="0"/>
            </a:p>
          </p:txBody>
        </p:sp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2D503A3B-58B3-E52D-9D57-943175F3F975}"/>
                </a:ext>
              </a:extLst>
            </p:cNvPr>
            <p:cNvSpPr/>
            <p:nvPr/>
          </p:nvSpPr>
          <p:spPr>
            <a:xfrm rot="16200000">
              <a:off x="1379618" y="4267385"/>
              <a:ext cx="195182" cy="908345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6E3499A-6BE5-E446-13C2-2EADE929923C}"/>
                </a:ext>
              </a:extLst>
            </p:cNvPr>
            <p:cNvSpPr txBox="1"/>
            <p:nvPr/>
          </p:nvSpPr>
          <p:spPr>
            <a:xfrm>
              <a:off x="3818940" y="4781705"/>
              <a:ext cx="11273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gap</a:t>
              </a:r>
              <a:endParaRPr lang="nl-BE" sz="2000" dirty="0"/>
            </a:p>
          </p:txBody>
        </p:sp>
        <p:sp>
          <p:nvSpPr>
            <p:cNvPr id="28" name="Left Brace 27">
              <a:extLst>
                <a:ext uri="{FF2B5EF4-FFF2-40B4-BE49-F238E27FC236}">
                  <a16:creationId xmlns:a16="http://schemas.microsoft.com/office/drawing/2014/main" id="{B064E12E-9BB7-73E4-FA0E-B1CA0451F2D5}"/>
                </a:ext>
              </a:extLst>
            </p:cNvPr>
            <p:cNvSpPr/>
            <p:nvPr/>
          </p:nvSpPr>
          <p:spPr>
            <a:xfrm rot="16200000">
              <a:off x="4260995" y="4457428"/>
              <a:ext cx="249715" cy="528260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95BBAD9-DFD5-AB30-8D7C-3A77F3ADE925}"/>
                </a:ext>
              </a:extLst>
            </p:cNvPr>
            <p:cNvSpPr txBox="1"/>
            <p:nvPr/>
          </p:nvSpPr>
          <p:spPr>
            <a:xfrm>
              <a:off x="5242662" y="4781705"/>
              <a:ext cx="11273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gap</a:t>
              </a:r>
              <a:endParaRPr lang="nl-BE" sz="2000" dirty="0"/>
            </a:p>
          </p:txBody>
        </p:sp>
        <p:sp>
          <p:nvSpPr>
            <p:cNvPr id="30" name="Left Brace 29">
              <a:extLst>
                <a:ext uri="{FF2B5EF4-FFF2-40B4-BE49-F238E27FC236}">
                  <a16:creationId xmlns:a16="http://schemas.microsoft.com/office/drawing/2014/main" id="{C4890EAF-5C6E-9D25-42F0-F6B13829F0F9}"/>
                </a:ext>
              </a:extLst>
            </p:cNvPr>
            <p:cNvSpPr/>
            <p:nvPr/>
          </p:nvSpPr>
          <p:spPr>
            <a:xfrm rot="16200000">
              <a:off x="5800682" y="4032246"/>
              <a:ext cx="249715" cy="1378625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4184B1D-5D34-08D3-EE57-90E13F636E4F}"/>
                </a:ext>
              </a:extLst>
            </p:cNvPr>
            <p:cNvSpPr txBox="1"/>
            <p:nvPr/>
          </p:nvSpPr>
          <p:spPr>
            <a:xfrm>
              <a:off x="7819528" y="4781705"/>
              <a:ext cx="11273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gap</a:t>
              </a:r>
              <a:endParaRPr lang="nl-BE" sz="2000" dirty="0"/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1BA1E0D1-FD97-A165-7E23-0AF6E08AB4FE}"/>
                </a:ext>
              </a:extLst>
            </p:cNvPr>
            <p:cNvSpPr/>
            <p:nvPr/>
          </p:nvSpPr>
          <p:spPr>
            <a:xfrm rot="16200000">
              <a:off x="8248697" y="4283485"/>
              <a:ext cx="249716" cy="876148"/>
            </a:xfrm>
            <a:prstGeom prst="leftBrac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9C2920A-0809-5057-A035-200A2AC75D6E}"/>
                </a:ext>
              </a:extLst>
            </p:cNvPr>
            <p:cNvSpPr txBox="1"/>
            <p:nvPr/>
          </p:nvSpPr>
          <p:spPr>
            <a:xfrm>
              <a:off x="9587896" y="4781705"/>
              <a:ext cx="11273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gap</a:t>
              </a:r>
              <a:endParaRPr lang="nl-BE" sz="2000" dirty="0"/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57A677FF-E4F5-BB07-21BB-A38DC440D878}"/>
                </a:ext>
              </a:extLst>
            </p:cNvPr>
            <p:cNvCxnSpPr>
              <a:cxnSpLocks/>
              <a:stCxn id="33" idx="0"/>
            </p:cNvCxnSpPr>
            <p:nvPr/>
          </p:nvCxnSpPr>
          <p:spPr>
            <a:xfrm flipH="1" flipV="1">
              <a:off x="9172387" y="4198658"/>
              <a:ext cx="979201" cy="583047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C0E0A4A1-D5E2-8574-D068-4E1D3DC506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49793" y="4198658"/>
              <a:ext cx="860714" cy="592474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3FBA729-0875-F22A-2696-62201027E7D0}"/>
              </a:ext>
            </a:extLst>
          </p:cNvPr>
          <p:cNvGrpSpPr/>
          <p:nvPr/>
        </p:nvGrpSpPr>
        <p:grpSpPr>
          <a:xfrm>
            <a:off x="891964" y="4099668"/>
            <a:ext cx="10483646" cy="527389"/>
            <a:chOff x="891964" y="4099668"/>
            <a:chExt cx="10483646" cy="52738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E5A267E-70CF-6F9A-1D50-6FB0538C2D23}"/>
                </a:ext>
              </a:extLst>
            </p:cNvPr>
            <p:cNvSpPr txBox="1"/>
            <p:nvPr/>
          </p:nvSpPr>
          <p:spPr>
            <a:xfrm>
              <a:off x="891964" y="4103837"/>
              <a:ext cx="123491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accent4"/>
                  </a:solidFill>
                </a:rPr>
                <a:t>time</a:t>
              </a:r>
              <a:endParaRPr lang="nl-BE" sz="28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BBBB0BFD-C32D-3930-D616-80DADF0700F0}"/>
                </a:ext>
              </a:extLst>
            </p:cNvPr>
            <p:cNvCxnSpPr>
              <a:cxnSpLocks/>
            </p:cNvCxnSpPr>
            <p:nvPr/>
          </p:nvCxnSpPr>
          <p:spPr>
            <a:xfrm>
              <a:off x="1003711" y="4099668"/>
              <a:ext cx="10371899" cy="0"/>
            </a:xfrm>
            <a:prstGeom prst="straightConnector1">
              <a:avLst/>
            </a:prstGeom>
            <a:ln w="571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5237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Group 140">
            <a:extLst>
              <a:ext uri="{FF2B5EF4-FFF2-40B4-BE49-F238E27FC236}">
                <a16:creationId xmlns:a16="http://schemas.microsoft.com/office/drawing/2014/main" id="{0F8EC549-7AE4-36F4-2F78-B45898B89708}"/>
              </a:ext>
            </a:extLst>
          </p:cNvPr>
          <p:cNvGrpSpPr/>
          <p:nvPr/>
        </p:nvGrpSpPr>
        <p:grpSpPr>
          <a:xfrm>
            <a:off x="896210" y="1818572"/>
            <a:ext cx="5200984" cy="4220350"/>
            <a:chOff x="896210" y="1818572"/>
            <a:chExt cx="5200984" cy="4220350"/>
          </a:xfrm>
        </p:grpSpPr>
        <p:grpSp>
          <p:nvGrpSpPr>
            <p:cNvPr id="5" name="Graphic 11">
              <a:extLst>
                <a:ext uri="{FF2B5EF4-FFF2-40B4-BE49-F238E27FC236}">
                  <a16:creationId xmlns:a16="http://schemas.microsoft.com/office/drawing/2014/main" id="{EB74E9BD-F8D0-56E3-2389-DFF4DBC1E818}"/>
                </a:ext>
              </a:extLst>
            </p:cNvPr>
            <p:cNvGrpSpPr/>
            <p:nvPr/>
          </p:nvGrpSpPr>
          <p:grpSpPr>
            <a:xfrm>
              <a:off x="896210" y="1818572"/>
              <a:ext cx="5200984" cy="4220350"/>
              <a:chOff x="896210" y="1706812"/>
              <a:chExt cx="5200984" cy="4220350"/>
            </a:xfrm>
          </p:grpSpPr>
          <p:grpSp>
            <p:nvGrpSpPr>
              <p:cNvPr id="6" name="Graphic 11">
                <a:extLst>
                  <a:ext uri="{FF2B5EF4-FFF2-40B4-BE49-F238E27FC236}">
                    <a16:creationId xmlns:a16="http://schemas.microsoft.com/office/drawing/2014/main" id="{92526AC7-353E-1675-0970-E735DF293453}"/>
                  </a:ext>
                </a:extLst>
              </p:cNvPr>
              <p:cNvGrpSpPr/>
              <p:nvPr/>
            </p:nvGrpSpPr>
            <p:grpSpPr>
              <a:xfrm>
                <a:off x="967251" y="1777847"/>
                <a:ext cx="5058303" cy="4078278"/>
                <a:chOff x="967251" y="1777847"/>
                <a:chExt cx="5058303" cy="4078278"/>
              </a:xfrm>
            </p:grpSpPr>
            <p:sp>
              <p:nvSpPr>
                <p:cNvPr id="70" name="Freeform 69">
                  <a:extLst>
                    <a:ext uri="{FF2B5EF4-FFF2-40B4-BE49-F238E27FC236}">
                      <a16:creationId xmlns:a16="http://schemas.microsoft.com/office/drawing/2014/main" id="{A71BF165-A15A-10D9-5F28-507B6510813B}"/>
                    </a:ext>
                  </a:extLst>
                </p:cNvPr>
                <p:cNvSpPr/>
                <p:nvPr/>
              </p:nvSpPr>
              <p:spPr>
                <a:xfrm>
                  <a:off x="967251" y="1849480"/>
                  <a:ext cx="5969" cy="498443"/>
                </a:xfrm>
                <a:custGeom>
                  <a:avLst/>
                  <a:gdLst>
                    <a:gd name="connsiteX0" fmla="*/ 0 w 5969"/>
                    <a:gd name="connsiteY0" fmla="*/ 0 h 498443"/>
                    <a:gd name="connsiteX1" fmla="*/ 0 w 5969"/>
                    <a:gd name="connsiteY1" fmla="*/ 498443 h 498443"/>
                    <a:gd name="connsiteX2" fmla="*/ 0 w 5969"/>
                    <a:gd name="connsiteY2" fmla="*/ 498443 h 498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69" h="498443">
                      <a:moveTo>
                        <a:pt x="0" y="0"/>
                      </a:moveTo>
                      <a:lnTo>
                        <a:pt x="0" y="498443"/>
                      </a:lnTo>
                      <a:lnTo>
                        <a:pt x="0" y="498443"/>
                      </a:lnTo>
                      <a:close/>
                    </a:path>
                  </a:pathLst>
                </a:custGeom>
                <a:solidFill>
                  <a:srgbClr val="1A9DFF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D4596A21-7C0F-68F1-4890-C772789BA510}"/>
                    </a:ext>
                  </a:extLst>
                </p:cNvPr>
                <p:cNvSpPr/>
                <p:nvPr/>
              </p:nvSpPr>
              <p:spPr>
                <a:xfrm>
                  <a:off x="967251" y="1777847"/>
                  <a:ext cx="5058303" cy="4078278"/>
                </a:xfrm>
                <a:custGeom>
                  <a:avLst/>
                  <a:gdLst>
                    <a:gd name="connsiteX0" fmla="*/ 4987261 w 5058303"/>
                    <a:gd name="connsiteY0" fmla="*/ 71633 h 4078278"/>
                    <a:gd name="connsiteX1" fmla="*/ 4987261 w 5058303"/>
                    <a:gd name="connsiteY1" fmla="*/ 71633 h 4078278"/>
                    <a:gd name="connsiteX2" fmla="*/ 4987261 w 5058303"/>
                    <a:gd name="connsiteY2" fmla="*/ 0 h 4078278"/>
                    <a:gd name="connsiteX3" fmla="*/ 71639 w 5058303"/>
                    <a:gd name="connsiteY3" fmla="*/ 0 h 4078278"/>
                    <a:gd name="connsiteX4" fmla="*/ 71639 w 5058303"/>
                    <a:gd name="connsiteY4" fmla="*/ 71633 h 4078278"/>
                    <a:gd name="connsiteX5" fmla="*/ 71639 w 5058303"/>
                    <a:gd name="connsiteY5" fmla="*/ 71633 h 4078278"/>
                    <a:gd name="connsiteX6" fmla="*/ 0 w 5058303"/>
                    <a:gd name="connsiteY6" fmla="*/ 71633 h 4078278"/>
                    <a:gd name="connsiteX7" fmla="*/ 0 w 5058303"/>
                    <a:gd name="connsiteY7" fmla="*/ 142668 h 4078278"/>
                    <a:gd name="connsiteX8" fmla="*/ 0 w 5058303"/>
                    <a:gd name="connsiteY8" fmla="*/ 142668 h 4078278"/>
                    <a:gd name="connsiteX9" fmla="*/ 0 w 5058303"/>
                    <a:gd name="connsiteY9" fmla="*/ 570076 h 4078278"/>
                    <a:gd name="connsiteX10" fmla="*/ 0 w 5058303"/>
                    <a:gd name="connsiteY10" fmla="*/ 570076 h 4078278"/>
                    <a:gd name="connsiteX11" fmla="*/ 0 w 5058303"/>
                    <a:gd name="connsiteY11" fmla="*/ 4006646 h 4078278"/>
                    <a:gd name="connsiteX12" fmla="*/ 71639 w 5058303"/>
                    <a:gd name="connsiteY12" fmla="*/ 4006646 h 4078278"/>
                    <a:gd name="connsiteX13" fmla="*/ 71639 w 5058303"/>
                    <a:gd name="connsiteY13" fmla="*/ 4078279 h 4078278"/>
                    <a:gd name="connsiteX14" fmla="*/ 4987261 w 5058303"/>
                    <a:gd name="connsiteY14" fmla="*/ 4078279 h 4078278"/>
                    <a:gd name="connsiteX15" fmla="*/ 4987261 w 5058303"/>
                    <a:gd name="connsiteY15" fmla="*/ 4006646 h 4078278"/>
                    <a:gd name="connsiteX16" fmla="*/ 5058304 w 5058303"/>
                    <a:gd name="connsiteY16" fmla="*/ 4006646 h 4078278"/>
                    <a:gd name="connsiteX17" fmla="*/ 5058304 w 5058303"/>
                    <a:gd name="connsiteY17" fmla="*/ 570076 h 4078278"/>
                    <a:gd name="connsiteX18" fmla="*/ 5058304 w 5058303"/>
                    <a:gd name="connsiteY18" fmla="*/ 142668 h 4078278"/>
                    <a:gd name="connsiteX19" fmla="*/ 5058304 w 5058303"/>
                    <a:gd name="connsiteY19" fmla="*/ 142668 h 4078278"/>
                    <a:gd name="connsiteX20" fmla="*/ 5058304 w 5058303"/>
                    <a:gd name="connsiteY20" fmla="*/ 71633 h 4078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058303" h="4078278">
                      <a:moveTo>
                        <a:pt x="4987261" y="71633"/>
                      </a:moveTo>
                      <a:lnTo>
                        <a:pt x="4987261" y="71633"/>
                      </a:lnTo>
                      <a:lnTo>
                        <a:pt x="4987261" y="0"/>
                      </a:lnTo>
                      <a:lnTo>
                        <a:pt x="71639" y="0"/>
                      </a:lnTo>
                      <a:lnTo>
                        <a:pt x="71639" y="71633"/>
                      </a:lnTo>
                      <a:lnTo>
                        <a:pt x="71639" y="71633"/>
                      </a:lnTo>
                      <a:lnTo>
                        <a:pt x="0" y="71633"/>
                      </a:lnTo>
                      <a:lnTo>
                        <a:pt x="0" y="142668"/>
                      </a:lnTo>
                      <a:lnTo>
                        <a:pt x="0" y="142668"/>
                      </a:lnTo>
                      <a:lnTo>
                        <a:pt x="0" y="570076"/>
                      </a:lnTo>
                      <a:lnTo>
                        <a:pt x="0" y="570076"/>
                      </a:lnTo>
                      <a:lnTo>
                        <a:pt x="0" y="4006646"/>
                      </a:lnTo>
                      <a:lnTo>
                        <a:pt x="71639" y="4006646"/>
                      </a:lnTo>
                      <a:lnTo>
                        <a:pt x="71639" y="4078279"/>
                      </a:lnTo>
                      <a:lnTo>
                        <a:pt x="4987261" y="4078279"/>
                      </a:lnTo>
                      <a:lnTo>
                        <a:pt x="4987261" y="4006646"/>
                      </a:lnTo>
                      <a:lnTo>
                        <a:pt x="5058304" y="4006646"/>
                      </a:lnTo>
                      <a:lnTo>
                        <a:pt x="5058304" y="570076"/>
                      </a:lnTo>
                      <a:lnTo>
                        <a:pt x="5058304" y="142668"/>
                      </a:lnTo>
                      <a:lnTo>
                        <a:pt x="5058304" y="142668"/>
                      </a:lnTo>
                      <a:lnTo>
                        <a:pt x="5058304" y="7163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grpSp>
            <p:nvGrpSpPr>
              <p:cNvPr id="7" name="Graphic 11">
                <a:extLst>
                  <a:ext uri="{FF2B5EF4-FFF2-40B4-BE49-F238E27FC236}">
                    <a16:creationId xmlns:a16="http://schemas.microsoft.com/office/drawing/2014/main" id="{47BF81E5-4F25-C982-0027-0906805BF845}"/>
                  </a:ext>
                </a:extLst>
              </p:cNvPr>
              <p:cNvGrpSpPr/>
              <p:nvPr/>
            </p:nvGrpSpPr>
            <p:grpSpPr>
              <a:xfrm>
                <a:off x="896210" y="1706812"/>
                <a:ext cx="5200984" cy="4220350"/>
                <a:chOff x="896210" y="1706812"/>
                <a:chExt cx="5200984" cy="4220350"/>
              </a:xfrm>
              <a:solidFill>
                <a:srgbClr val="000600"/>
              </a:solidFill>
            </p:grpSpPr>
            <p:sp>
              <p:nvSpPr>
                <p:cNvPr id="8" name="Freeform 7">
                  <a:extLst>
                    <a:ext uri="{FF2B5EF4-FFF2-40B4-BE49-F238E27FC236}">
                      <a16:creationId xmlns:a16="http://schemas.microsoft.com/office/drawing/2014/main" id="{4FD46628-EDA6-9417-A947-23633323C901}"/>
                    </a:ext>
                  </a:extLst>
                </p:cNvPr>
                <p:cNvSpPr/>
                <p:nvPr/>
              </p:nvSpPr>
              <p:spPr>
                <a:xfrm>
                  <a:off x="896210" y="3273773"/>
                  <a:ext cx="71041" cy="1941241"/>
                </a:xfrm>
                <a:custGeom>
                  <a:avLst/>
                  <a:gdLst>
                    <a:gd name="connsiteX0" fmla="*/ 71042 w 71041"/>
                    <a:gd name="connsiteY0" fmla="*/ 1798573 h 1941241"/>
                    <a:gd name="connsiteX1" fmla="*/ 71042 w 71041"/>
                    <a:gd name="connsiteY1" fmla="*/ 1727538 h 1941241"/>
                    <a:gd name="connsiteX2" fmla="*/ 71042 w 71041"/>
                    <a:gd name="connsiteY2" fmla="*/ 1655906 h 1941241"/>
                    <a:gd name="connsiteX3" fmla="*/ 71042 w 71041"/>
                    <a:gd name="connsiteY3" fmla="*/ 1584870 h 1941241"/>
                    <a:gd name="connsiteX4" fmla="*/ 71042 w 71041"/>
                    <a:gd name="connsiteY4" fmla="*/ 1513834 h 1941241"/>
                    <a:gd name="connsiteX5" fmla="*/ 71042 w 71041"/>
                    <a:gd name="connsiteY5" fmla="*/ 1442202 h 1941241"/>
                    <a:gd name="connsiteX6" fmla="*/ 71042 w 71041"/>
                    <a:gd name="connsiteY6" fmla="*/ 1371166 h 1941241"/>
                    <a:gd name="connsiteX7" fmla="*/ 71042 w 71041"/>
                    <a:gd name="connsiteY7" fmla="*/ 1300130 h 1941241"/>
                    <a:gd name="connsiteX8" fmla="*/ 71042 w 71041"/>
                    <a:gd name="connsiteY8" fmla="*/ 1228498 h 1941241"/>
                    <a:gd name="connsiteX9" fmla="*/ 71042 w 71041"/>
                    <a:gd name="connsiteY9" fmla="*/ 213704 h 1941241"/>
                    <a:gd name="connsiteX10" fmla="*/ 71042 w 71041"/>
                    <a:gd name="connsiteY10" fmla="*/ 142668 h 1941241"/>
                    <a:gd name="connsiteX11" fmla="*/ 71042 w 71041"/>
                    <a:gd name="connsiteY11" fmla="*/ 71633 h 1941241"/>
                    <a:gd name="connsiteX12" fmla="*/ 71042 w 71041"/>
                    <a:gd name="connsiteY12" fmla="*/ 0 h 1941241"/>
                    <a:gd name="connsiteX13" fmla="*/ 0 w 71041"/>
                    <a:gd name="connsiteY13" fmla="*/ 0 h 1941241"/>
                    <a:gd name="connsiteX14" fmla="*/ 0 w 71041"/>
                    <a:gd name="connsiteY14" fmla="*/ 71633 h 1941241"/>
                    <a:gd name="connsiteX15" fmla="*/ 0 w 71041"/>
                    <a:gd name="connsiteY15" fmla="*/ 142668 h 1941241"/>
                    <a:gd name="connsiteX16" fmla="*/ 0 w 71041"/>
                    <a:gd name="connsiteY16" fmla="*/ 213704 h 1941241"/>
                    <a:gd name="connsiteX17" fmla="*/ 0 w 71041"/>
                    <a:gd name="connsiteY17" fmla="*/ 1228498 h 1941241"/>
                    <a:gd name="connsiteX18" fmla="*/ 0 w 71041"/>
                    <a:gd name="connsiteY18" fmla="*/ 1300130 h 1941241"/>
                    <a:gd name="connsiteX19" fmla="*/ 0 w 71041"/>
                    <a:gd name="connsiteY19" fmla="*/ 1371166 h 1941241"/>
                    <a:gd name="connsiteX20" fmla="*/ 0 w 71041"/>
                    <a:gd name="connsiteY20" fmla="*/ 1442202 h 1941241"/>
                    <a:gd name="connsiteX21" fmla="*/ 0 w 71041"/>
                    <a:gd name="connsiteY21" fmla="*/ 1513834 h 1941241"/>
                    <a:gd name="connsiteX22" fmla="*/ 0 w 71041"/>
                    <a:gd name="connsiteY22" fmla="*/ 1584870 h 1941241"/>
                    <a:gd name="connsiteX23" fmla="*/ 0 w 71041"/>
                    <a:gd name="connsiteY23" fmla="*/ 1655906 h 1941241"/>
                    <a:gd name="connsiteX24" fmla="*/ 0 w 71041"/>
                    <a:gd name="connsiteY24" fmla="*/ 1727538 h 1941241"/>
                    <a:gd name="connsiteX25" fmla="*/ 0 w 71041"/>
                    <a:gd name="connsiteY25" fmla="*/ 1798573 h 1941241"/>
                    <a:gd name="connsiteX26" fmla="*/ 0 w 71041"/>
                    <a:gd name="connsiteY26" fmla="*/ 1869609 h 1941241"/>
                    <a:gd name="connsiteX27" fmla="*/ 0 w 71041"/>
                    <a:gd name="connsiteY27" fmla="*/ 1941242 h 1941241"/>
                    <a:gd name="connsiteX28" fmla="*/ 71042 w 71041"/>
                    <a:gd name="connsiteY28" fmla="*/ 1941242 h 1941241"/>
                    <a:gd name="connsiteX29" fmla="*/ 71042 w 71041"/>
                    <a:gd name="connsiteY29" fmla="*/ 1869609 h 1941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1041" h="1941241">
                      <a:moveTo>
                        <a:pt x="71042" y="1798573"/>
                      </a:moveTo>
                      <a:lnTo>
                        <a:pt x="71042" y="1727538"/>
                      </a:lnTo>
                      <a:lnTo>
                        <a:pt x="71042" y="1655906"/>
                      </a:lnTo>
                      <a:lnTo>
                        <a:pt x="71042" y="1584870"/>
                      </a:lnTo>
                      <a:lnTo>
                        <a:pt x="71042" y="1513834"/>
                      </a:lnTo>
                      <a:lnTo>
                        <a:pt x="71042" y="1442202"/>
                      </a:lnTo>
                      <a:lnTo>
                        <a:pt x="71042" y="1371166"/>
                      </a:lnTo>
                      <a:lnTo>
                        <a:pt x="71042" y="1300130"/>
                      </a:lnTo>
                      <a:lnTo>
                        <a:pt x="71042" y="1228498"/>
                      </a:lnTo>
                      <a:lnTo>
                        <a:pt x="71042" y="213704"/>
                      </a:lnTo>
                      <a:lnTo>
                        <a:pt x="71042" y="142668"/>
                      </a:lnTo>
                      <a:lnTo>
                        <a:pt x="71042" y="71633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633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1228498"/>
                      </a:lnTo>
                      <a:lnTo>
                        <a:pt x="0" y="1300130"/>
                      </a:lnTo>
                      <a:lnTo>
                        <a:pt x="0" y="1371166"/>
                      </a:lnTo>
                      <a:lnTo>
                        <a:pt x="0" y="1442202"/>
                      </a:lnTo>
                      <a:lnTo>
                        <a:pt x="0" y="1513834"/>
                      </a:lnTo>
                      <a:lnTo>
                        <a:pt x="0" y="1584870"/>
                      </a:lnTo>
                      <a:lnTo>
                        <a:pt x="0" y="1655906"/>
                      </a:lnTo>
                      <a:lnTo>
                        <a:pt x="0" y="1727538"/>
                      </a:lnTo>
                      <a:lnTo>
                        <a:pt x="0" y="1798573"/>
                      </a:lnTo>
                      <a:lnTo>
                        <a:pt x="0" y="1869609"/>
                      </a:lnTo>
                      <a:lnTo>
                        <a:pt x="0" y="1941242"/>
                      </a:lnTo>
                      <a:lnTo>
                        <a:pt x="71042" y="1941242"/>
                      </a:lnTo>
                      <a:lnTo>
                        <a:pt x="71042" y="1869609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" name="Freeform 8">
                  <a:extLst>
                    <a:ext uri="{FF2B5EF4-FFF2-40B4-BE49-F238E27FC236}">
                      <a16:creationId xmlns:a16="http://schemas.microsoft.com/office/drawing/2014/main" id="{4BCC09AD-EF75-7A6A-4976-D9D15DF12F2D}"/>
                    </a:ext>
                  </a:extLst>
                </p:cNvPr>
                <p:cNvSpPr/>
                <p:nvPr/>
              </p:nvSpPr>
              <p:spPr>
                <a:xfrm>
                  <a:off x="896210" y="521501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" name="Freeform 9">
                  <a:extLst>
                    <a:ext uri="{FF2B5EF4-FFF2-40B4-BE49-F238E27FC236}">
                      <a16:creationId xmlns:a16="http://schemas.microsoft.com/office/drawing/2014/main" id="{E0FBFDF0-1C70-E47E-A14B-2EEC56304388}"/>
                    </a:ext>
                  </a:extLst>
                </p:cNvPr>
                <p:cNvSpPr/>
                <p:nvPr/>
              </p:nvSpPr>
              <p:spPr>
                <a:xfrm>
                  <a:off x="896210" y="5286050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" name="Freeform 10">
                  <a:extLst>
                    <a:ext uri="{FF2B5EF4-FFF2-40B4-BE49-F238E27FC236}">
                      <a16:creationId xmlns:a16="http://schemas.microsoft.com/office/drawing/2014/main" id="{6843B365-B6DF-24E4-7030-8E92930768E6}"/>
                    </a:ext>
                  </a:extLst>
                </p:cNvPr>
                <p:cNvSpPr/>
                <p:nvPr/>
              </p:nvSpPr>
              <p:spPr>
                <a:xfrm>
                  <a:off x="896210" y="5357086"/>
                  <a:ext cx="71041" cy="427407"/>
                </a:xfrm>
                <a:custGeom>
                  <a:avLst/>
                  <a:gdLst>
                    <a:gd name="connsiteX0" fmla="*/ 71042 w 71041"/>
                    <a:gd name="connsiteY0" fmla="*/ 285336 h 427407"/>
                    <a:gd name="connsiteX1" fmla="*/ 71042 w 71041"/>
                    <a:gd name="connsiteY1" fmla="*/ 213704 h 427407"/>
                    <a:gd name="connsiteX2" fmla="*/ 71042 w 71041"/>
                    <a:gd name="connsiteY2" fmla="*/ 142668 h 427407"/>
                    <a:gd name="connsiteX3" fmla="*/ 71042 w 71041"/>
                    <a:gd name="connsiteY3" fmla="*/ 71633 h 427407"/>
                    <a:gd name="connsiteX4" fmla="*/ 71042 w 71041"/>
                    <a:gd name="connsiteY4" fmla="*/ 0 h 427407"/>
                    <a:gd name="connsiteX5" fmla="*/ 0 w 71041"/>
                    <a:gd name="connsiteY5" fmla="*/ 0 h 427407"/>
                    <a:gd name="connsiteX6" fmla="*/ 0 w 71041"/>
                    <a:gd name="connsiteY6" fmla="*/ 71633 h 427407"/>
                    <a:gd name="connsiteX7" fmla="*/ 0 w 71041"/>
                    <a:gd name="connsiteY7" fmla="*/ 142668 h 427407"/>
                    <a:gd name="connsiteX8" fmla="*/ 0 w 71041"/>
                    <a:gd name="connsiteY8" fmla="*/ 213704 h 427407"/>
                    <a:gd name="connsiteX9" fmla="*/ 0 w 71041"/>
                    <a:gd name="connsiteY9" fmla="*/ 285336 h 427407"/>
                    <a:gd name="connsiteX10" fmla="*/ 0 w 71041"/>
                    <a:gd name="connsiteY10" fmla="*/ 356372 h 427407"/>
                    <a:gd name="connsiteX11" fmla="*/ 0 w 71041"/>
                    <a:gd name="connsiteY11" fmla="*/ 427407 h 427407"/>
                    <a:gd name="connsiteX12" fmla="*/ 71042 w 71041"/>
                    <a:gd name="connsiteY12" fmla="*/ 427407 h 427407"/>
                    <a:gd name="connsiteX13" fmla="*/ 71042 w 71041"/>
                    <a:gd name="connsiteY13" fmla="*/ 356372 h 427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1041" h="427407">
                      <a:moveTo>
                        <a:pt x="71042" y="285336"/>
                      </a:moveTo>
                      <a:lnTo>
                        <a:pt x="71042" y="213704"/>
                      </a:lnTo>
                      <a:lnTo>
                        <a:pt x="71042" y="142668"/>
                      </a:lnTo>
                      <a:lnTo>
                        <a:pt x="71042" y="71633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633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285336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71042" y="427407"/>
                      </a:lnTo>
                      <a:lnTo>
                        <a:pt x="71042" y="356372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" name="Freeform 11">
                  <a:extLst>
                    <a:ext uri="{FF2B5EF4-FFF2-40B4-BE49-F238E27FC236}">
                      <a16:creationId xmlns:a16="http://schemas.microsoft.com/office/drawing/2014/main" id="{6A678F45-0836-B3DB-7FB2-0B86F7108D1B}"/>
                    </a:ext>
                  </a:extLst>
                </p:cNvPr>
                <p:cNvSpPr/>
                <p:nvPr/>
              </p:nvSpPr>
              <p:spPr>
                <a:xfrm>
                  <a:off x="967251" y="578449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58227926-55A2-ECD3-64A3-65D45531C96B}"/>
                    </a:ext>
                  </a:extLst>
                </p:cNvPr>
                <p:cNvSpPr/>
                <p:nvPr/>
              </p:nvSpPr>
              <p:spPr>
                <a:xfrm>
                  <a:off x="896210" y="2561626"/>
                  <a:ext cx="71041" cy="570075"/>
                </a:xfrm>
                <a:custGeom>
                  <a:avLst/>
                  <a:gdLst>
                    <a:gd name="connsiteX0" fmla="*/ 71042 w 71041"/>
                    <a:gd name="connsiteY0" fmla="*/ 427407 h 570075"/>
                    <a:gd name="connsiteX1" fmla="*/ 71042 w 71041"/>
                    <a:gd name="connsiteY1" fmla="*/ 356372 h 570075"/>
                    <a:gd name="connsiteX2" fmla="*/ 71042 w 71041"/>
                    <a:gd name="connsiteY2" fmla="*/ 284739 h 570075"/>
                    <a:gd name="connsiteX3" fmla="*/ 71042 w 71041"/>
                    <a:gd name="connsiteY3" fmla="*/ 213704 h 570075"/>
                    <a:gd name="connsiteX4" fmla="*/ 71042 w 71041"/>
                    <a:gd name="connsiteY4" fmla="*/ 142668 h 570075"/>
                    <a:gd name="connsiteX5" fmla="*/ 71042 w 71041"/>
                    <a:gd name="connsiteY5" fmla="*/ 71036 h 570075"/>
                    <a:gd name="connsiteX6" fmla="*/ 71042 w 71041"/>
                    <a:gd name="connsiteY6" fmla="*/ 0 h 570075"/>
                    <a:gd name="connsiteX7" fmla="*/ 0 w 71041"/>
                    <a:gd name="connsiteY7" fmla="*/ 0 h 570075"/>
                    <a:gd name="connsiteX8" fmla="*/ 0 w 71041"/>
                    <a:gd name="connsiteY8" fmla="*/ 71036 h 570075"/>
                    <a:gd name="connsiteX9" fmla="*/ 0 w 71041"/>
                    <a:gd name="connsiteY9" fmla="*/ 142668 h 570075"/>
                    <a:gd name="connsiteX10" fmla="*/ 0 w 71041"/>
                    <a:gd name="connsiteY10" fmla="*/ 213704 h 570075"/>
                    <a:gd name="connsiteX11" fmla="*/ 0 w 71041"/>
                    <a:gd name="connsiteY11" fmla="*/ 284739 h 570075"/>
                    <a:gd name="connsiteX12" fmla="*/ 0 w 71041"/>
                    <a:gd name="connsiteY12" fmla="*/ 356372 h 570075"/>
                    <a:gd name="connsiteX13" fmla="*/ 0 w 71041"/>
                    <a:gd name="connsiteY13" fmla="*/ 427407 h 570075"/>
                    <a:gd name="connsiteX14" fmla="*/ 0 w 71041"/>
                    <a:gd name="connsiteY14" fmla="*/ 498443 h 570075"/>
                    <a:gd name="connsiteX15" fmla="*/ 0 w 71041"/>
                    <a:gd name="connsiteY15" fmla="*/ 570076 h 570075"/>
                    <a:gd name="connsiteX16" fmla="*/ 71042 w 71041"/>
                    <a:gd name="connsiteY16" fmla="*/ 570076 h 570075"/>
                    <a:gd name="connsiteX17" fmla="*/ 71042 w 71041"/>
                    <a:gd name="connsiteY17" fmla="*/ 498443 h 570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1041" h="570075">
                      <a:moveTo>
                        <a:pt x="71042" y="427407"/>
                      </a:moveTo>
                      <a:lnTo>
                        <a:pt x="71042" y="356372"/>
                      </a:lnTo>
                      <a:lnTo>
                        <a:pt x="71042" y="284739"/>
                      </a:lnTo>
                      <a:lnTo>
                        <a:pt x="71042" y="213704"/>
                      </a:lnTo>
                      <a:lnTo>
                        <a:pt x="71042" y="142668"/>
                      </a:lnTo>
                      <a:lnTo>
                        <a:pt x="71042" y="71036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0" y="498443"/>
                      </a:lnTo>
                      <a:lnTo>
                        <a:pt x="0" y="570076"/>
                      </a:lnTo>
                      <a:lnTo>
                        <a:pt x="71042" y="570076"/>
                      </a:lnTo>
                      <a:lnTo>
                        <a:pt x="71042" y="498443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E106065C-B18D-A949-DFE0-E0306B8EB991}"/>
                    </a:ext>
                  </a:extLst>
                </p:cNvPr>
                <p:cNvSpPr/>
                <p:nvPr/>
              </p:nvSpPr>
              <p:spPr>
                <a:xfrm>
                  <a:off x="896210" y="313170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5" name="Freeform 14">
                  <a:extLst>
                    <a:ext uri="{FF2B5EF4-FFF2-40B4-BE49-F238E27FC236}">
                      <a16:creationId xmlns:a16="http://schemas.microsoft.com/office/drawing/2014/main" id="{97ED3115-F1B1-98A5-C195-77C1232A97DE}"/>
                    </a:ext>
                  </a:extLst>
                </p:cNvPr>
                <p:cNvSpPr/>
                <p:nvPr/>
              </p:nvSpPr>
              <p:spPr>
                <a:xfrm>
                  <a:off x="896210" y="3202738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6" name="Freeform 15">
                  <a:extLst>
                    <a:ext uri="{FF2B5EF4-FFF2-40B4-BE49-F238E27FC236}">
                      <a16:creationId xmlns:a16="http://schemas.microsoft.com/office/drawing/2014/main" id="{37D6F218-2A7A-9CB6-B818-C7CCE50BDC19}"/>
                    </a:ext>
                  </a:extLst>
                </p:cNvPr>
                <p:cNvSpPr/>
                <p:nvPr/>
              </p:nvSpPr>
              <p:spPr>
                <a:xfrm>
                  <a:off x="1038890" y="5856126"/>
                  <a:ext cx="712210" cy="71035"/>
                </a:xfrm>
                <a:custGeom>
                  <a:avLst/>
                  <a:gdLst>
                    <a:gd name="connsiteX0" fmla="*/ 569529 w 712210"/>
                    <a:gd name="connsiteY0" fmla="*/ 0 h 71035"/>
                    <a:gd name="connsiteX1" fmla="*/ 498487 w 712210"/>
                    <a:gd name="connsiteY1" fmla="*/ 0 h 71035"/>
                    <a:gd name="connsiteX2" fmla="*/ 427445 w 712210"/>
                    <a:gd name="connsiteY2" fmla="*/ 0 h 71035"/>
                    <a:gd name="connsiteX3" fmla="*/ 355807 w 712210"/>
                    <a:gd name="connsiteY3" fmla="*/ 0 h 71035"/>
                    <a:gd name="connsiteX4" fmla="*/ 284765 w 712210"/>
                    <a:gd name="connsiteY4" fmla="*/ 0 h 71035"/>
                    <a:gd name="connsiteX5" fmla="*/ 213723 w 712210"/>
                    <a:gd name="connsiteY5" fmla="*/ 0 h 71035"/>
                    <a:gd name="connsiteX6" fmla="*/ 142084 w 712210"/>
                    <a:gd name="connsiteY6" fmla="*/ 0 h 71035"/>
                    <a:gd name="connsiteX7" fmla="*/ 71042 w 712210"/>
                    <a:gd name="connsiteY7" fmla="*/ 0 h 71035"/>
                    <a:gd name="connsiteX8" fmla="*/ 0 w 712210"/>
                    <a:gd name="connsiteY8" fmla="*/ 0 h 71035"/>
                    <a:gd name="connsiteX9" fmla="*/ 0 w 712210"/>
                    <a:gd name="connsiteY9" fmla="*/ 71036 h 71035"/>
                    <a:gd name="connsiteX10" fmla="*/ 71042 w 712210"/>
                    <a:gd name="connsiteY10" fmla="*/ 71036 h 71035"/>
                    <a:gd name="connsiteX11" fmla="*/ 142084 w 712210"/>
                    <a:gd name="connsiteY11" fmla="*/ 71036 h 71035"/>
                    <a:gd name="connsiteX12" fmla="*/ 213723 w 712210"/>
                    <a:gd name="connsiteY12" fmla="*/ 71036 h 71035"/>
                    <a:gd name="connsiteX13" fmla="*/ 284765 w 712210"/>
                    <a:gd name="connsiteY13" fmla="*/ 71036 h 71035"/>
                    <a:gd name="connsiteX14" fmla="*/ 355807 w 712210"/>
                    <a:gd name="connsiteY14" fmla="*/ 71036 h 71035"/>
                    <a:gd name="connsiteX15" fmla="*/ 427445 w 712210"/>
                    <a:gd name="connsiteY15" fmla="*/ 71036 h 71035"/>
                    <a:gd name="connsiteX16" fmla="*/ 498487 w 712210"/>
                    <a:gd name="connsiteY16" fmla="*/ 71036 h 71035"/>
                    <a:gd name="connsiteX17" fmla="*/ 569529 w 712210"/>
                    <a:gd name="connsiteY17" fmla="*/ 71036 h 71035"/>
                    <a:gd name="connsiteX18" fmla="*/ 641168 w 712210"/>
                    <a:gd name="connsiteY18" fmla="*/ 71036 h 71035"/>
                    <a:gd name="connsiteX19" fmla="*/ 712210 w 712210"/>
                    <a:gd name="connsiteY19" fmla="*/ 71036 h 71035"/>
                    <a:gd name="connsiteX20" fmla="*/ 712210 w 712210"/>
                    <a:gd name="connsiteY20" fmla="*/ 0 h 71035"/>
                    <a:gd name="connsiteX21" fmla="*/ 641168 w 712210"/>
                    <a:gd name="connsiteY2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2210" h="71035">
                      <a:moveTo>
                        <a:pt x="569529" y="0"/>
                      </a:move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5807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084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5807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69529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7" name="Freeform 16">
                  <a:extLst>
                    <a:ext uri="{FF2B5EF4-FFF2-40B4-BE49-F238E27FC236}">
                      <a16:creationId xmlns:a16="http://schemas.microsoft.com/office/drawing/2014/main" id="{6CA99E28-5B96-ECEF-2176-73BACC85949D}"/>
                    </a:ext>
                  </a:extLst>
                </p:cNvPr>
                <p:cNvSpPr/>
                <p:nvPr/>
              </p:nvSpPr>
              <p:spPr>
                <a:xfrm>
                  <a:off x="1751100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8" name="Freeform 17">
                  <a:extLst>
                    <a:ext uri="{FF2B5EF4-FFF2-40B4-BE49-F238E27FC236}">
                      <a16:creationId xmlns:a16="http://schemas.microsoft.com/office/drawing/2014/main" id="{374C3F04-73B5-648C-17EF-D382FF585FF4}"/>
                    </a:ext>
                  </a:extLst>
                </p:cNvPr>
                <p:cNvSpPr/>
                <p:nvPr/>
              </p:nvSpPr>
              <p:spPr>
                <a:xfrm>
                  <a:off x="1822142" y="5856126"/>
                  <a:ext cx="1068613" cy="71035"/>
                </a:xfrm>
                <a:custGeom>
                  <a:avLst/>
                  <a:gdLst>
                    <a:gd name="connsiteX0" fmla="*/ 926530 w 1068613"/>
                    <a:gd name="connsiteY0" fmla="*/ 0 h 71035"/>
                    <a:gd name="connsiteX1" fmla="*/ 854891 w 1068613"/>
                    <a:gd name="connsiteY1" fmla="*/ 0 h 71035"/>
                    <a:gd name="connsiteX2" fmla="*/ 783849 w 1068613"/>
                    <a:gd name="connsiteY2" fmla="*/ 0 h 71035"/>
                    <a:gd name="connsiteX3" fmla="*/ 712807 w 1068613"/>
                    <a:gd name="connsiteY3" fmla="*/ 0 h 71035"/>
                    <a:gd name="connsiteX4" fmla="*/ 641168 w 1068613"/>
                    <a:gd name="connsiteY4" fmla="*/ 0 h 71035"/>
                    <a:gd name="connsiteX5" fmla="*/ 570126 w 1068613"/>
                    <a:gd name="connsiteY5" fmla="*/ 0 h 71035"/>
                    <a:gd name="connsiteX6" fmla="*/ 499084 w 1068613"/>
                    <a:gd name="connsiteY6" fmla="*/ 0 h 71035"/>
                    <a:gd name="connsiteX7" fmla="*/ 427445 w 1068613"/>
                    <a:gd name="connsiteY7" fmla="*/ 0 h 71035"/>
                    <a:gd name="connsiteX8" fmla="*/ 356404 w 1068613"/>
                    <a:gd name="connsiteY8" fmla="*/ 0 h 71035"/>
                    <a:gd name="connsiteX9" fmla="*/ 285362 w 1068613"/>
                    <a:gd name="connsiteY9" fmla="*/ 0 h 71035"/>
                    <a:gd name="connsiteX10" fmla="*/ 213723 w 1068613"/>
                    <a:gd name="connsiteY10" fmla="*/ 0 h 71035"/>
                    <a:gd name="connsiteX11" fmla="*/ 142681 w 1068613"/>
                    <a:gd name="connsiteY11" fmla="*/ 0 h 71035"/>
                    <a:gd name="connsiteX12" fmla="*/ 71639 w 1068613"/>
                    <a:gd name="connsiteY12" fmla="*/ 0 h 71035"/>
                    <a:gd name="connsiteX13" fmla="*/ 0 w 1068613"/>
                    <a:gd name="connsiteY13" fmla="*/ 0 h 71035"/>
                    <a:gd name="connsiteX14" fmla="*/ 0 w 1068613"/>
                    <a:gd name="connsiteY14" fmla="*/ 71036 h 71035"/>
                    <a:gd name="connsiteX15" fmla="*/ 71639 w 1068613"/>
                    <a:gd name="connsiteY15" fmla="*/ 71036 h 71035"/>
                    <a:gd name="connsiteX16" fmla="*/ 142681 w 1068613"/>
                    <a:gd name="connsiteY16" fmla="*/ 71036 h 71035"/>
                    <a:gd name="connsiteX17" fmla="*/ 213723 w 1068613"/>
                    <a:gd name="connsiteY17" fmla="*/ 71036 h 71035"/>
                    <a:gd name="connsiteX18" fmla="*/ 285362 w 1068613"/>
                    <a:gd name="connsiteY18" fmla="*/ 71036 h 71035"/>
                    <a:gd name="connsiteX19" fmla="*/ 356404 w 1068613"/>
                    <a:gd name="connsiteY19" fmla="*/ 71036 h 71035"/>
                    <a:gd name="connsiteX20" fmla="*/ 427445 w 1068613"/>
                    <a:gd name="connsiteY20" fmla="*/ 71036 h 71035"/>
                    <a:gd name="connsiteX21" fmla="*/ 499084 w 1068613"/>
                    <a:gd name="connsiteY21" fmla="*/ 71036 h 71035"/>
                    <a:gd name="connsiteX22" fmla="*/ 570126 w 1068613"/>
                    <a:gd name="connsiteY22" fmla="*/ 71036 h 71035"/>
                    <a:gd name="connsiteX23" fmla="*/ 641168 w 1068613"/>
                    <a:gd name="connsiteY23" fmla="*/ 71036 h 71035"/>
                    <a:gd name="connsiteX24" fmla="*/ 712807 w 1068613"/>
                    <a:gd name="connsiteY24" fmla="*/ 71036 h 71035"/>
                    <a:gd name="connsiteX25" fmla="*/ 783849 w 1068613"/>
                    <a:gd name="connsiteY25" fmla="*/ 71036 h 71035"/>
                    <a:gd name="connsiteX26" fmla="*/ 854891 w 1068613"/>
                    <a:gd name="connsiteY26" fmla="*/ 71036 h 71035"/>
                    <a:gd name="connsiteX27" fmla="*/ 926530 w 1068613"/>
                    <a:gd name="connsiteY27" fmla="*/ 71036 h 71035"/>
                    <a:gd name="connsiteX28" fmla="*/ 997572 w 1068613"/>
                    <a:gd name="connsiteY28" fmla="*/ 71036 h 71035"/>
                    <a:gd name="connsiteX29" fmla="*/ 1068614 w 1068613"/>
                    <a:gd name="connsiteY29" fmla="*/ 71036 h 71035"/>
                    <a:gd name="connsiteX30" fmla="*/ 1068614 w 1068613"/>
                    <a:gd name="connsiteY30" fmla="*/ 0 h 71035"/>
                    <a:gd name="connsiteX31" fmla="*/ 997572 w 1068613"/>
                    <a:gd name="connsiteY3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068613" h="71035">
                      <a:moveTo>
                        <a:pt x="926530" y="0"/>
                      </a:moveTo>
                      <a:lnTo>
                        <a:pt x="854891" y="0"/>
                      </a:lnTo>
                      <a:lnTo>
                        <a:pt x="783849" y="0"/>
                      </a:lnTo>
                      <a:lnTo>
                        <a:pt x="712807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6530" y="71036"/>
                      </a:lnTo>
                      <a:lnTo>
                        <a:pt x="997572" y="71036"/>
                      </a:lnTo>
                      <a:lnTo>
                        <a:pt x="1068614" y="71036"/>
                      </a:lnTo>
                      <a:lnTo>
                        <a:pt x="1068614" y="0"/>
                      </a:lnTo>
                      <a:lnTo>
                        <a:pt x="997572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AD5C32E2-83D8-F25C-F841-AB09511CFF43}"/>
                    </a:ext>
                  </a:extLst>
                </p:cNvPr>
                <p:cNvSpPr/>
                <p:nvPr/>
              </p:nvSpPr>
              <p:spPr>
                <a:xfrm>
                  <a:off x="2890756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D10798C4-B0C5-0992-F0B9-2725EEA2BA3F}"/>
                    </a:ext>
                  </a:extLst>
                </p:cNvPr>
                <p:cNvSpPr/>
                <p:nvPr/>
              </p:nvSpPr>
              <p:spPr>
                <a:xfrm>
                  <a:off x="2962395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1" name="Freeform 20">
                  <a:extLst>
                    <a:ext uri="{FF2B5EF4-FFF2-40B4-BE49-F238E27FC236}">
                      <a16:creationId xmlns:a16="http://schemas.microsoft.com/office/drawing/2014/main" id="{D2C1A852-6296-BEE2-16B6-AAA467124D23}"/>
                    </a:ext>
                  </a:extLst>
                </p:cNvPr>
                <p:cNvSpPr/>
                <p:nvPr/>
              </p:nvSpPr>
              <p:spPr>
                <a:xfrm>
                  <a:off x="3033437" y="5856126"/>
                  <a:ext cx="997571" cy="71035"/>
                </a:xfrm>
                <a:custGeom>
                  <a:avLst/>
                  <a:gdLst>
                    <a:gd name="connsiteX0" fmla="*/ 854891 w 997571"/>
                    <a:gd name="connsiteY0" fmla="*/ 0 h 71035"/>
                    <a:gd name="connsiteX1" fmla="*/ 783849 w 997571"/>
                    <a:gd name="connsiteY1" fmla="*/ 0 h 71035"/>
                    <a:gd name="connsiteX2" fmla="*/ 712210 w 997571"/>
                    <a:gd name="connsiteY2" fmla="*/ 0 h 71035"/>
                    <a:gd name="connsiteX3" fmla="*/ 641168 w 997571"/>
                    <a:gd name="connsiteY3" fmla="*/ 0 h 71035"/>
                    <a:gd name="connsiteX4" fmla="*/ 570126 w 997571"/>
                    <a:gd name="connsiteY4" fmla="*/ 0 h 71035"/>
                    <a:gd name="connsiteX5" fmla="*/ 498487 w 997571"/>
                    <a:gd name="connsiteY5" fmla="*/ 0 h 71035"/>
                    <a:gd name="connsiteX6" fmla="*/ 427445 w 997571"/>
                    <a:gd name="connsiteY6" fmla="*/ 0 h 71035"/>
                    <a:gd name="connsiteX7" fmla="*/ 356404 w 997571"/>
                    <a:gd name="connsiteY7" fmla="*/ 0 h 71035"/>
                    <a:gd name="connsiteX8" fmla="*/ 284765 w 997571"/>
                    <a:gd name="connsiteY8" fmla="*/ 0 h 71035"/>
                    <a:gd name="connsiteX9" fmla="*/ 213723 w 997571"/>
                    <a:gd name="connsiteY9" fmla="*/ 0 h 71035"/>
                    <a:gd name="connsiteX10" fmla="*/ 142681 w 997571"/>
                    <a:gd name="connsiteY10" fmla="*/ 0 h 71035"/>
                    <a:gd name="connsiteX11" fmla="*/ 71042 w 997571"/>
                    <a:gd name="connsiteY11" fmla="*/ 0 h 71035"/>
                    <a:gd name="connsiteX12" fmla="*/ 0 w 997571"/>
                    <a:gd name="connsiteY12" fmla="*/ 0 h 71035"/>
                    <a:gd name="connsiteX13" fmla="*/ 0 w 997571"/>
                    <a:gd name="connsiteY13" fmla="*/ 71036 h 71035"/>
                    <a:gd name="connsiteX14" fmla="*/ 71042 w 997571"/>
                    <a:gd name="connsiteY14" fmla="*/ 71036 h 71035"/>
                    <a:gd name="connsiteX15" fmla="*/ 142681 w 997571"/>
                    <a:gd name="connsiteY15" fmla="*/ 71036 h 71035"/>
                    <a:gd name="connsiteX16" fmla="*/ 213723 w 997571"/>
                    <a:gd name="connsiteY16" fmla="*/ 71036 h 71035"/>
                    <a:gd name="connsiteX17" fmla="*/ 284765 w 997571"/>
                    <a:gd name="connsiteY17" fmla="*/ 71036 h 71035"/>
                    <a:gd name="connsiteX18" fmla="*/ 356404 w 997571"/>
                    <a:gd name="connsiteY18" fmla="*/ 71036 h 71035"/>
                    <a:gd name="connsiteX19" fmla="*/ 427445 w 997571"/>
                    <a:gd name="connsiteY19" fmla="*/ 71036 h 71035"/>
                    <a:gd name="connsiteX20" fmla="*/ 498487 w 997571"/>
                    <a:gd name="connsiteY20" fmla="*/ 71036 h 71035"/>
                    <a:gd name="connsiteX21" fmla="*/ 570126 w 997571"/>
                    <a:gd name="connsiteY21" fmla="*/ 71036 h 71035"/>
                    <a:gd name="connsiteX22" fmla="*/ 641168 w 997571"/>
                    <a:gd name="connsiteY22" fmla="*/ 71036 h 71035"/>
                    <a:gd name="connsiteX23" fmla="*/ 712210 w 997571"/>
                    <a:gd name="connsiteY23" fmla="*/ 71036 h 71035"/>
                    <a:gd name="connsiteX24" fmla="*/ 783849 w 997571"/>
                    <a:gd name="connsiteY24" fmla="*/ 71036 h 71035"/>
                    <a:gd name="connsiteX25" fmla="*/ 854891 w 997571"/>
                    <a:gd name="connsiteY25" fmla="*/ 71036 h 71035"/>
                    <a:gd name="connsiteX26" fmla="*/ 925933 w 997571"/>
                    <a:gd name="connsiteY26" fmla="*/ 71036 h 71035"/>
                    <a:gd name="connsiteX27" fmla="*/ 997572 w 997571"/>
                    <a:gd name="connsiteY27" fmla="*/ 71036 h 71035"/>
                    <a:gd name="connsiteX28" fmla="*/ 997572 w 997571"/>
                    <a:gd name="connsiteY28" fmla="*/ 0 h 71035"/>
                    <a:gd name="connsiteX29" fmla="*/ 925933 w 997571"/>
                    <a:gd name="connsiteY29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997571" h="71035">
                      <a:moveTo>
                        <a:pt x="854891" y="0"/>
                      </a:moveTo>
                      <a:lnTo>
                        <a:pt x="783849" y="0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5933" y="71036"/>
                      </a:lnTo>
                      <a:lnTo>
                        <a:pt x="997572" y="71036"/>
                      </a:lnTo>
                      <a:lnTo>
                        <a:pt x="997572" y="0"/>
                      </a:lnTo>
                      <a:lnTo>
                        <a:pt x="925933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52828C98-9066-DF4D-7408-48078505ED05}"/>
                    </a:ext>
                  </a:extLst>
                </p:cNvPr>
                <p:cNvSpPr/>
                <p:nvPr/>
              </p:nvSpPr>
              <p:spPr>
                <a:xfrm>
                  <a:off x="4031008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3" name="Freeform 22">
                  <a:extLst>
                    <a:ext uri="{FF2B5EF4-FFF2-40B4-BE49-F238E27FC236}">
                      <a16:creationId xmlns:a16="http://schemas.microsoft.com/office/drawing/2014/main" id="{69390A8C-9DB4-E87D-2CD2-D9CCF90044F3}"/>
                    </a:ext>
                  </a:extLst>
                </p:cNvPr>
                <p:cNvSpPr/>
                <p:nvPr/>
              </p:nvSpPr>
              <p:spPr>
                <a:xfrm>
                  <a:off x="4102050" y="5856126"/>
                  <a:ext cx="854890" cy="71035"/>
                </a:xfrm>
                <a:custGeom>
                  <a:avLst/>
                  <a:gdLst>
                    <a:gd name="connsiteX0" fmla="*/ 712807 w 854890"/>
                    <a:gd name="connsiteY0" fmla="*/ 0 h 71035"/>
                    <a:gd name="connsiteX1" fmla="*/ 641168 w 854890"/>
                    <a:gd name="connsiteY1" fmla="*/ 0 h 71035"/>
                    <a:gd name="connsiteX2" fmla="*/ 570126 w 854890"/>
                    <a:gd name="connsiteY2" fmla="*/ 0 h 71035"/>
                    <a:gd name="connsiteX3" fmla="*/ 499084 w 854890"/>
                    <a:gd name="connsiteY3" fmla="*/ 0 h 71035"/>
                    <a:gd name="connsiteX4" fmla="*/ 427445 w 854890"/>
                    <a:gd name="connsiteY4" fmla="*/ 0 h 71035"/>
                    <a:gd name="connsiteX5" fmla="*/ 356404 w 854890"/>
                    <a:gd name="connsiteY5" fmla="*/ 0 h 71035"/>
                    <a:gd name="connsiteX6" fmla="*/ 285362 w 854890"/>
                    <a:gd name="connsiteY6" fmla="*/ 0 h 71035"/>
                    <a:gd name="connsiteX7" fmla="*/ 213723 w 854890"/>
                    <a:gd name="connsiteY7" fmla="*/ 0 h 71035"/>
                    <a:gd name="connsiteX8" fmla="*/ 142681 w 854890"/>
                    <a:gd name="connsiteY8" fmla="*/ 0 h 71035"/>
                    <a:gd name="connsiteX9" fmla="*/ 71639 w 854890"/>
                    <a:gd name="connsiteY9" fmla="*/ 0 h 71035"/>
                    <a:gd name="connsiteX10" fmla="*/ 0 w 854890"/>
                    <a:gd name="connsiteY10" fmla="*/ 0 h 71035"/>
                    <a:gd name="connsiteX11" fmla="*/ 0 w 854890"/>
                    <a:gd name="connsiteY11" fmla="*/ 71036 h 71035"/>
                    <a:gd name="connsiteX12" fmla="*/ 71639 w 854890"/>
                    <a:gd name="connsiteY12" fmla="*/ 71036 h 71035"/>
                    <a:gd name="connsiteX13" fmla="*/ 142681 w 854890"/>
                    <a:gd name="connsiteY13" fmla="*/ 71036 h 71035"/>
                    <a:gd name="connsiteX14" fmla="*/ 213723 w 854890"/>
                    <a:gd name="connsiteY14" fmla="*/ 71036 h 71035"/>
                    <a:gd name="connsiteX15" fmla="*/ 285362 w 854890"/>
                    <a:gd name="connsiteY15" fmla="*/ 71036 h 71035"/>
                    <a:gd name="connsiteX16" fmla="*/ 356404 w 854890"/>
                    <a:gd name="connsiteY16" fmla="*/ 71036 h 71035"/>
                    <a:gd name="connsiteX17" fmla="*/ 427445 w 854890"/>
                    <a:gd name="connsiteY17" fmla="*/ 71036 h 71035"/>
                    <a:gd name="connsiteX18" fmla="*/ 499084 w 854890"/>
                    <a:gd name="connsiteY18" fmla="*/ 71036 h 71035"/>
                    <a:gd name="connsiteX19" fmla="*/ 570126 w 854890"/>
                    <a:gd name="connsiteY19" fmla="*/ 71036 h 71035"/>
                    <a:gd name="connsiteX20" fmla="*/ 641168 w 854890"/>
                    <a:gd name="connsiteY20" fmla="*/ 71036 h 71035"/>
                    <a:gd name="connsiteX21" fmla="*/ 712807 w 854890"/>
                    <a:gd name="connsiteY21" fmla="*/ 71036 h 71035"/>
                    <a:gd name="connsiteX22" fmla="*/ 783849 w 854890"/>
                    <a:gd name="connsiteY22" fmla="*/ 71036 h 71035"/>
                    <a:gd name="connsiteX23" fmla="*/ 854891 w 854890"/>
                    <a:gd name="connsiteY23" fmla="*/ 71036 h 71035"/>
                    <a:gd name="connsiteX24" fmla="*/ 854891 w 854890"/>
                    <a:gd name="connsiteY24" fmla="*/ 0 h 71035"/>
                    <a:gd name="connsiteX25" fmla="*/ 783849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12807" y="0"/>
                      </a:move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lnTo>
                        <a:pt x="78384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4" name="Freeform 23">
                  <a:extLst>
                    <a:ext uri="{FF2B5EF4-FFF2-40B4-BE49-F238E27FC236}">
                      <a16:creationId xmlns:a16="http://schemas.microsoft.com/office/drawing/2014/main" id="{A646AFD2-CD9D-CDA1-6E49-077929577EB0}"/>
                    </a:ext>
                  </a:extLst>
                </p:cNvPr>
                <p:cNvSpPr/>
                <p:nvPr/>
              </p:nvSpPr>
              <p:spPr>
                <a:xfrm>
                  <a:off x="4956941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413B0EC8-4BEB-EFCA-E4D3-D92414A95C03}"/>
                    </a:ext>
                  </a:extLst>
                </p:cNvPr>
                <p:cNvSpPr/>
                <p:nvPr/>
              </p:nvSpPr>
              <p:spPr>
                <a:xfrm>
                  <a:off x="5028580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F876C4DF-505B-325C-AB80-474671F1FE33}"/>
                    </a:ext>
                  </a:extLst>
                </p:cNvPr>
                <p:cNvSpPr/>
                <p:nvPr/>
              </p:nvSpPr>
              <p:spPr>
                <a:xfrm>
                  <a:off x="5099622" y="5856126"/>
                  <a:ext cx="854890" cy="71035"/>
                </a:xfrm>
                <a:custGeom>
                  <a:avLst/>
                  <a:gdLst>
                    <a:gd name="connsiteX0" fmla="*/ 712210 w 854890"/>
                    <a:gd name="connsiteY0" fmla="*/ 0 h 71035"/>
                    <a:gd name="connsiteX1" fmla="*/ 641168 w 854890"/>
                    <a:gd name="connsiteY1" fmla="*/ 0 h 71035"/>
                    <a:gd name="connsiteX2" fmla="*/ 570126 w 854890"/>
                    <a:gd name="connsiteY2" fmla="*/ 0 h 71035"/>
                    <a:gd name="connsiteX3" fmla="*/ 498487 w 854890"/>
                    <a:gd name="connsiteY3" fmla="*/ 0 h 71035"/>
                    <a:gd name="connsiteX4" fmla="*/ 427446 w 854890"/>
                    <a:gd name="connsiteY4" fmla="*/ 0 h 71035"/>
                    <a:gd name="connsiteX5" fmla="*/ 356404 w 854890"/>
                    <a:gd name="connsiteY5" fmla="*/ 0 h 71035"/>
                    <a:gd name="connsiteX6" fmla="*/ 284765 w 854890"/>
                    <a:gd name="connsiteY6" fmla="*/ 0 h 71035"/>
                    <a:gd name="connsiteX7" fmla="*/ 213723 w 854890"/>
                    <a:gd name="connsiteY7" fmla="*/ 0 h 71035"/>
                    <a:gd name="connsiteX8" fmla="*/ 142681 w 854890"/>
                    <a:gd name="connsiteY8" fmla="*/ 0 h 71035"/>
                    <a:gd name="connsiteX9" fmla="*/ 71042 w 854890"/>
                    <a:gd name="connsiteY9" fmla="*/ 0 h 71035"/>
                    <a:gd name="connsiteX10" fmla="*/ 0 w 854890"/>
                    <a:gd name="connsiteY10" fmla="*/ 0 h 71035"/>
                    <a:gd name="connsiteX11" fmla="*/ 0 w 854890"/>
                    <a:gd name="connsiteY11" fmla="*/ 71036 h 71035"/>
                    <a:gd name="connsiteX12" fmla="*/ 71042 w 854890"/>
                    <a:gd name="connsiteY12" fmla="*/ 71036 h 71035"/>
                    <a:gd name="connsiteX13" fmla="*/ 142681 w 854890"/>
                    <a:gd name="connsiteY13" fmla="*/ 71036 h 71035"/>
                    <a:gd name="connsiteX14" fmla="*/ 213723 w 854890"/>
                    <a:gd name="connsiteY14" fmla="*/ 71036 h 71035"/>
                    <a:gd name="connsiteX15" fmla="*/ 284765 w 854890"/>
                    <a:gd name="connsiteY15" fmla="*/ 71036 h 71035"/>
                    <a:gd name="connsiteX16" fmla="*/ 356404 w 854890"/>
                    <a:gd name="connsiteY16" fmla="*/ 71036 h 71035"/>
                    <a:gd name="connsiteX17" fmla="*/ 427446 w 854890"/>
                    <a:gd name="connsiteY17" fmla="*/ 71036 h 71035"/>
                    <a:gd name="connsiteX18" fmla="*/ 498487 w 854890"/>
                    <a:gd name="connsiteY18" fmla="*/ 71036 h 71035"/>
                    <a:gd name="connsiteX19" fmla="*/ 570126 w 854890"/>
                    <a:gd name="connsiteY19" fmla="*/ 71036 h 71035"/>
                    <a:gd name="connsiteX20" fmla="*/ 641168 w 854890"/>
                    <a:gd name="connsiteY20" fmla="*/ 71036 h 71035"/>
                    <a:gd name="connsiteX21" fmla="*/ 712210 w 854890"/>
                    <a:gd name="connsiteY21" fmla="*/ 71036 h 71035"/>
                    <a:gd name="connsiteX22" fmla="*/ 783849 w 854890"/>
                    <a:gd name="connsiteY22" fmla="*/ 71036 h 71035"/>
                    <a:gd name="connsiteX23" fmla="*/ 854891 w 854890"/>
                    <a:gd name="connsiteY23" fmla="*/ 71036 h 71035"/>
                    <a:gd name="connsiteX24" fmla="*/ 854891 w 854890"/>
                    <a:gd name="connsiteY24" fmla="*/ 0 h 71035"/>
                    <a:gd name="connsiteX25" fmla="*/ 783849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12210" y="0"/>
                      </a:move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6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6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lnTo>
                        <a:pt x="78384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7" name="Freeform 26">
                  <a:extLst>
                    <a:ext uri="{FF2B5EF4-FFF2-40B4-BE49-F238E27FC236}">
                      <a16:creationId xmlns:a16="http://schemas.microsoft.com/office/drawing/2014/main" id="{EEB8B713-FF5A-ADE4-DFCD-4C2A0F473B62}"/>
                    </a:ext>
                  </a:extLst>
                </p:cNvPr>
                <p:cNvSpPr/>
                <p:nvPr/>
              </p:nvSpPr>
              <p:spPr>
                <a:xfrm>
                  <a:off x="5954513" y="578449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09108482-7443-1DDB-A1A7-63AA54ADC35A}"/>
                    </a:ext>
                  </a:extLst>
                </p:cNvPr>
                <p:cNvSpPr/>
                <p:nvPr/>
              </p:nvSpPr>
              <p:spPr>
                <a:xfrm>
                  <a:off x="6025555" y="5357086"/>
                  <a:ext cx="71638" cy="427407"/>
                </a:xfrm>
                <a:custGeom>
                  <a:avLst/>
                  <a:gdLst>
                    <a:gd name="connsiteX0" fmla="*/ 0 w 71638"/>
                    <a:gd name="connsiteY0" fmla="*/ 142668 h 427407"/>
                    <a:gd name="connsiteX1" fmla="*/ 0 w 71638"/>
                    <a:gd name="connsiteY1" fmla="*/ 213704 h 427407"/>
                    <a:gd name="connsiteX2" fmla="*/ 0 w 71638"/>
                    <a:gd name="connsiteY2" fmla="*/ 285336 h 427407"/>
                    <a:gd name="connsiteX3" fmla="*/ 0 w 71638"/>
                    <a:gd name="connsiteY3" fmla="*/ 356372 h 427407"/>
                    <a:gd name="connsiteX4" fmla="*/ 0 w 71638"/>
                    <a:gd name="connsiteY4" fmla="*/ 427407 h 427407"/>
                    <a:gd name="connsiteX5" fmla="*/ 71639 w 71638"/>
                    <a:gd name="connsiteY5" fmla="*/ 427407 h 427407"/>
                    <a:gd name="connsiteX6" fmla="*/ 71639 w 71638"/>
                    <a:gd name="connsiteY6" fmla="*/ 356372 h 427407"/>
                    <a:gd name="connsiteX7" fmla="*/ 71639 w 71638"/>
                    <a:gd name="connsiteY7" fmla="*/ 356372 h 427407"/>
                    <a:gd name="connsiteX8" fmla="*/ 71639 w 71638"/>
                    <a:gd name="connsiteY8" fmla="*/ 285336 h 427407"/>
                    <a:gd name="connsiteX9" fmla="*/ 71639 w 71638"/>
                    <a:gd name="connsiteY9" fmla="*/ 285336 h 427407"/>
                    <a:gd name="connsiteX10" fmla="*/ 71639 w 71638"/>
                    <a:gd name="connsiteY10" fmla="*/ 213704 h 427407"/>
                    <a:gd name="connsiteX11" fmla="*/ 71639 w 71638"/>
                    <a:gd name="connsiteY11" fmla="*/ 213704 h 427407"/>
                    <a:gd name="connsiteX12" fmla="*/ 71639 w 71638"/>
                    <a:gd name="connsiteY12" fmla="*/ 142668 h 427407"/>
                    <a:gd name="connsiteX13" fmla="*/ 71639 w 71638"/>
                    <a:gd name="connsiteY13" fmla="*/ 142668 h 427407"/>
                    <a:gd name="connsiteX14" fmla="*/ 71639 w 71638"/>
                    <a:gd name="connsiteY14" fmla="*/ 71633 h 427407"/>
                    <a:gd name="connsiteX15" fmla="*/ 71639 w 71638"/>
                    <a:gd name="connsiteY15" fmla="*/ 71633 h 427407"/>
                    <a:gd name="connsiteX16" fmla="*/ 71639 w 71638"/>
                    <a:gd name="connsiteY16" fmla="*/ 0 h 427407"/>
                    <a:gd name="connsiteX17" fmla="*/ 0 w 71638"/>
                    <a:gd name="connsiteY17" fmla="*/ 0 h 427407"/>
                    <a:gd name="connsiteX18" fmla="*/ 0 w 71638"/>
                    <a:gd name="connsiteY18" fmla="*/ 71633 h 427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1638" h="427407">
                      <a:moveTo>
                        <a:pt x="0" y="142668"/>
                      </a:moveTo>
                      <a:lnTo>
                        <a:pt x="0" y="213704"/>
                      </a:lnTo>
                      <a:lnTo>
                        <a:pt x="0" y="285336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71639" y="427407"/>
                      </a:lnTo>
                      <a:lnTo>
                        <a:pt x="71639" y="356372"/>
                      </a:lnTo>
                      <a:lnTo>
                        <a:pt x="71639" y="356372"/>
                      </a:lnTo>
                      <a:lnTo>
                        <a:pt x="71639" y="285336"/>
                      </a:lnTo>
                      <a:lnTo>
                        <a:pt x="71639" y="285336"/>
                      </a:lnTo>
                      <a:lnTo>
                        <a:pt x="71639" y="213704"/>
                      </a:lnTo>
                      <a:lnTo>
                        <a:pt x="71639" y="213704"/>
                      </a:lnTo>
                      <a:lnTo>
                        <a:pt x="71639" y="142668"/>
                      </a:lnTo>
                      <a:lnTo>
                        <a:pt x="71639" y="142668"/>
                      </a:lnTo>
                      <a:lnTo>
                        <a:pt x="71639" y="71633"/>
                      </a:lnTo>
                      <a:lnTo>
                        <a:pt x="71639" y="71633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633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8D1E16A5-7974-31DA-A26F-628A374995EE}"/>
                    </a:ext>
                  </a:extLst>
                </p:cNvPr>
                <p:cNvSpPr/>
                <p:nvPr/>
              </p:nvSpPr>
              <p:spPr>
                <a:xfrm>
                  <a:off x="6025555" y="5286050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127C385E-0039-4B9A-CB7B-6A02F77F2C3B}"/>
                    </a:ext>
                  </a:extLst>
                </p:cNvPr>
                <p:cNvSpPr/>
                <p:nvPr/>
              </p:nvSpPr>
              <p:spPr>
                <a:xfrm>
                  <a:off x="6025555" y="5215015"/>
                  <a:ext cx="71638" cy="71035"/>
                </a:xfrm>
                <a:custGeom>
                  <a:avLst/>
                  <a:gdLst>
                    <a:gd name="connsiteX0" fmla="*/ 0 w 71638"/>
                    <a:gd name="connsiteY0" fmla="*/ 71035 h 71035"/>
                    <a:gd name="connsiteX1" fmla="*/ 71639 w 71638"/>
                    <a:gd name="connsiteY1" fmla="*/ 71035 h 71035"/>
                    <a:gd name="connsiteX2" fmla="*/ 71639 w 71638"/>
                    <a:gd name="connsiteY2" fmla="*/ 0 h 71035"/>
                    <a:gd name="connsiteX3" fmla="*/ 71639 w 71638"/>
                    <a:gd name="connsiteY3" fmla="*/ 0 h 71035"/>
                    <a:gd name="connsiteX4" fmla="*/ 0 w 71638"/>
                    <a:gd name="connsiteY4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38" h="71035">
                      <a:moveTo>
                        <a:pt x="0" y="71035"/>
                      </a:moveTo>
                      <a:lnTo>
                        <a:pt x="71639" y="71035"/>
                      </a:lnTo>
                      <a:lnTo>
                        <a:pt x="71639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A876F513-AA71-1FD5-D15F-38BD5E864CC8}"/>
                    </a:ext>
                  </a:extLst>
                </p:cNvPr>
                <p:cNvSpPr/>
                <p:nvPr/>
              </p:nvSpPr>
              <p:spPr>
                <a:xfrm>
                  <a:off x="6025555" y="2989034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54C04229-2695-5E34-0EF9-99E1B22A9406}"/>
                    </a:ext>
                  </a:extLst>
                </p:cNvPr>
                <p:cNvSpPr/>
                <p:nvPr/>
              </p:nvSpPr>
              <p:spPr>
                <a:xfrm>
                  <a:off x="6025555" y="3060069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3" name="Freeform 32">
                  <a:extLst>
                    <a:ext uri="{FF2B5EF4-FFF2-40B4-BE49-F238E27FC236}">
                      <a16:creationId xmlns:a16="http://schemas.microsoft.com/office/drawing/2014/main" id="{4325EBA8-4A19-2948-ACDA-A497544EB6B7}"/>
                    </a:ext>
                  </a:extLst>
                </p:cNvPr>
                <p:cNvSpPr/>
                <p:nvPr/>
              </p:nvSpPr>
              <p:spPr>
                <a:xfrm>
                  <a:off x="6025555" y="313170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905629FF-FA13-F4D0-1B48-03FD77FAC0B2}"/>
                    </a:ext>
                  </a:extLst>
                </p:cNvPr>
                <p:cNvSpPr/>
                <p:nvPr/>
              </p:nvSpPr>
              <p:spPr>
                <a:xfrm>
                  <a:off x="6025555" y="3202738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5" name="Freeform 34">
                  <a:extLst>
                    <a:ext uri="{FF2B5EF4-FFF2-40B4-BE49-F238E27FC236}">
                      <a16:creationId xmlns:a16="http://schemas.microsoft.com/office/drawing/2014/main" id="{9300EE24-FDAB-6749-A732-CC3799ACA95F}"/>
                    </a:ext>
                  </a:extLst>
                </p:cNvPr>
                <p:cNvSpPr/>
                <p:nvPr/>
              </p:nvSpPr>
              <p:spPr>
                <a:xfrm>
                  <a:off x="6025555" y="327377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B9A9FDCD-2A00-A1C0-2A99-FC938AD17A5A}"/>
                    </a:ext>
                  </a:extLst>
                </p:cNvPr>
                <p:cNvSpPr/>
                <p:nvPr/>
              </p:nvSpPr>
              <p:spPr>
                <a:xfrm>
                  <a:off x="6025555" y="334540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876C19E3-AE30-E9D9-1281-303D777A16C0}"/>
                    </a:ext>
                  </a:extLst>
                </p:cNvPr>
                <p:cNvSpPr/>
                <p:nvPr/>
              </p:nvSpPr>
              <p:spPr>
                <a:xfrm>
                  <a:off x="6025555" y="3416441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F1F2F1D8-10CD-A08B-7797-2082D8332A74}"/>
                    </a:ext>
                  </a:extLst>
                </p:cNvPr>
                <p:cNvSpPr/>
                <p:nvPr/>
              </p:nvSpPr>
              <p:spPr>
                <a:xfrm>
                  <a:off x="6025555" y="3487477"/>
                  <a:ext cx="71041" cy="1014794"/>
                </a:xfrm>
                <a:custGeom>
                  <a:avLst/>
                  <a:gdLst>
                    <a:gd name="connsiteX0" fmla="*/ 0 w 71041"/>
                    <a:gd name="connsiteY0" fmla="*/ 0 h 1014794"/>
                    <a:gd name="connsiteX1" fmla="*/ 71042 w 71041"/>
                    <a:gd name="connsiteY1" fmla="*/ 0 h 1014794"/>
                    <a:gd name="connsiteX2" fmla="*/ 71042 w 71041"/>
                    <a:gd name="connsiteY2" fmla="*/ 1014794 h 1014794"/>
                    <a:gd name="connsiteX3" fmla="*/ 0 w 71041"/>
                    <a:gd name="connsiteY3" fmla="*/ 1014794 h 101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1014794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1014794"/>
                      </a:lnTo>
                      <a:lnTo>
                        <a:pt x="0" y="1014794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CF33B9F2-966B-2DED-69DD-ACC8C22BC158}"/>
                    </a:ext>
                  </a:extLst>
                </p:cNvPr>
                <p:cNvSpPr/>
                <p:nvPr/>
              </p:nvSpPr>
              <p:spPr>
                <a:xfrm>
                  <a:off x="6025555" y="4502271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5 h 71035"/>
                    <a:gd name="connsiteX3" fmla="*/ 0 w 71041"/>
                    <a:gd name="connsiteY3" fmla="*/ 71035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5"/>
                      </a:lnTo>
                      <a:lnTo>
                        <a:pt x="0" y="71035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BCE9B862-AA79-1D9F-4A73-C514C2327A9E}"/>
                    </a:ext>
                  </a:extLst>
                </p:cNvPr>
                <p:cNvSpPr/>
                <p:nvPr/>
              </p:nvSpPr>
              <p:spPr>
                <a:xfrm>
                  <a:off x="6025555" y="4573904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5 h 71035"/>
                    <a:gd name="connsiteX3" fmla="*/ 0 w 71041"/>
                    <a:gd name="connsiteY3" fmla="*/ 71035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5"/>
                      </a:lnTo>
                      <a:lnTo>
                        <a:pt x="0" y="71035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1" name="Freeform 40">
                  <a:extLst>
                    <a:ext uri="{FF2B5EF4-FFF2-40B4-BE49-F238E27FC236}">
                      <a16:creationId xmlns:a16="http://schemas.microsoft.com/office/drawing/2014/main" id="{85939ECF-4244-4D6B-80E4-6204F2131846}"/>
                    </a:ext>
                  </a:extLst>
                </p:cNvPr>
                <p:cNvSpPr/>
                <p:nvPr/>
              </p:nvSpPr>
              <p:spPr>
                <a:xfrm>
                  <a:off x="6025555" y="4644939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2" name="Freeform 41">
                  <a:extLst>
                    <a:ext uri="{FF2B5EF4-FFF2-40B4-BE49-F238E27FC236}">
                      <a16:creationId xmlns:a16="http://schemas.microsoft.com/office/drawing/2014/main" id="{A47697C5-D35D-B9FF-760F-06818D61D202}"/>
                    </a:ext>
                  </a:extLst>
                </p:cNvPr>
                <p:cNvSpPr/>
                <p:nvPr/>
              </p:nvSpPr>
              <p:spPr>
                <a:xfrm>
                  <a:off x="6025555" y="471657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F894E190-7DB9-BF68-1A6F-AC33ED658193}"/>
                    </a:ext>
                  </a:extLst>
                </p:cNvPr>
                <p:cNvSpPr/>
                <p:nvPr/>
              </p:nvSpPr>
              <p:spPr>
                <a:xfrm>
                  <a:off x="6025555" y="478760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12716703-4AE5-F37B-E47A-D989166229C1}"/>
                    </a:ext>
                  </a:extLst>
                </p:cNvPr>
                <p:cNvSpPr/>
                <p:nvPr/>
              </p:nvSpPr>
              <p:spPr>
                <a:xfrm>
                  <a:off x="6025555" y="485864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3EE0C616-7A18-A25C-79A1-4ECB68057966}"/>
                    </a:ext>
                  </a:extLst>
                </p:cNvPr>
                <p:cNvSpPr/>
                <p:nvPr/>
              </p:nvSpPr>
              <p:spPr>
                <a:xfrm>
                  <a:off x="6025555" y="493027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30013A7F-A94E-E1B3-BF66-F515C63A2E38}"/>
                    </a:ext>
                  </a:extLst>
                </p:cNvPr>
                <p:cNvSpPr/>
                <p:nvPr/>
              </p:nvSpPr>
              <p:spPr>
                <a:xfrm>
                  <a:off x="6025555" y="5001311"/>
                  <a:ext cx="71638" cy="213703"/>
                </a:xfrm>
                <a:custGeom>
                  <a:avLst/>
                  <a:gdLst>
                    <a:gd name="connsiteX0" fmla="*/ 0 w 71638"/>
                    <a:gd name="connsiteY0" fmla="*/ 0 h 213703"/>
                    <a:gd name="connsiteX1" fmla="*/ 0 w 71638"/>
                    <a:gd name="connsiteY1" fmla="*/ 71035 h 213703"/>
                    <a:gd name="connsiteX2" fmla="*/ 0 w 71638"/>
                    <a:gd name="connsiteY2" fmla="*/ 71035 h 213703"/>
                    <a:gd name="connsiteX3" fmla="*/ 0 w 71638"/>
                    <a:gd name="connsiteY3" fmla="*/ 142071 h 213703"/>
                    <a:gd name="connsiteX4" fmla="*/ 0 w 71638"/>
                    <a:gd name="connsiteY4" fmla="*/ 213704 h 213703"/>
                    <a:gd name="connsiteX5" fmla="*/ 71639 w 71638"/>
                    <a:gd name="connsiteY5" fmla="*/ 213704 h 213703"/>
                    <a:gd name="connsiteX6" fmla="*/ 71639 w 71638"/>
                    <a:gd name="connsiteY6" fmla="*/ 142071 h 213703"/>
                    <a:gd name="connsiteX7" fmla="*/ 71639 w 71638"/>
                    <a:gd name="connsiteY7" fmla="*/ 142071 h 213703"/>
                    <a:gd name="connsiteX8" fmla="*/ 71639 w 71638"/>
                    <a:gd name="connsiteY8" fmla="*/ 71035 h 213703"/>
                    <a:gd name="connsiteX9" fmla="*/ 71639 w 71638"/>
                    <a:gd name="connsiteY9" fmla="*/ 71035 h 213703"/>
                    <a:gd name="connsiteX10" fmla="*/ 71639 w 71638"/>
                    <a:gd name="connsiteY10" fmla="*/ 0 h 213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1638" h="213703">
                      <a:moveTo>
                        <a:pt x="0" y="0"/>
                      </a:moveTo>
                      <a:lnTo>
                        <a:pt x="0" y="71035"/>
                      </a:lnTo>
                      <a:lnTo>
                        <a:pt x="0" y="71035"/>
                      </a:lnTo>
                      <a:lnTo>
                        <a:pt x="0" y="142071"/>
                      </a:lnTo>
                      <a:lnTo>
                        <a:pt x="0" y="213704"/>
                      </a:lnTo>
                      <a:lnTo>
                        <a:pt x="71639" y="213704"/>
                      </a:lnTo>
                      <a:lnTo>
                        <a:pt x="71639" y="142071"/>
                      </a:lnTo>
                      <a:lnTo>
                        <a:pt x="71639" y="142071"/>
                      </a:lnTo>
                      <a:lnTo>
                        <a:pt x="71639" y="71035"/>
                      </a:lnTo>
                      <a:lnTo>
                        <a:pt x="71639" y="71035"/>
                      </a:lnTo>
                      <a:lnTo>
                        <a:pt x="7163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1E059E7D-7796-C40C-9D80-8F74221DA493}"/>
                    </a:ext>
                  </a:extLst>
                </p:cNvPr>
                <p:cNvSpPr/>
                <p:nvPr/>
              </p:nvSpPr>
              <p:spPr>
                <a:xfrm>
                  <a:off x="6025555" y="2561626"/>
                  <a:ext cx="71638" cy="427407"/>
                </a:xfrm>
                <a:custGeom>
                  <a:avLst/>
                  <a:gdLst>
                    <a:gd name="connsiteX0" fmla="*/ 0 w 71638"/>
                    <a:gd name="connsiteY0" fmla="*/ 0 h 427407"/>
                    <a:gd name="connsiteX1" fmla="*/ 0 w 71638"/>
                    <a:gd name="connsiteY1" fmla="*/ 71036 h 427407"/>
                    <a:gd name="connsiteX2" fmla="*/ 0 w 71638"/>
                    <a:gd name="connsiteY2" fmla="*/ 142668 h 427407"/>
                    <a:gd name="connsiteX3" fmla="*/ 0 w 71638"/>
                    <a:gd name="connsiteY3" fmla="*/ 213704 h 427407"/>
                    <a:gd name="connsiteX4" fmla="*/ 0 w 71638"/>
                    <a:gd name="connsiteY4" fmla="*/ 284739 h 427407"/>
                    <a:gd name="connsiteX5" fmla="*/ 0 w 71638"/>
                    <a:gd name="connsiteY5" fmla="*/ 356372 h 427407"/>
                    <a:gd name="connsiteX6" fmla="*/ 0 w 71638"/>
                    <a:gd name="connsiteY6" fmla="*/ 427407 h 427407"/>
                    <a:gd name="connsiteX7" fmla="*/ 71639 w 71638"/>
                    <a:gd name="connsiteY7" fmla="*/ 427407 h 427407"/>
                    <a:gd name="connsiteX8" fmla="*/ 71639 w 71638"/>
                    <a:gd name="connsiteY8" fmla="*/ 356372 h 427407"/>
                    <a:gd name="connsiteX9" fmla="*/ 71639 w 71638"/>
                    <a:gd name="connsiteY9" fmla="*/ 356372 h 427407"/>
                    <a:gd name="connsiteX10" fmla="*/ 71639 w 71638"/>
                    <a:gd name="connsiteY10" fmla="*/ 284739 h 427407"/>
                    <a:gd name="connsiteX11" fmla="*/ 71639 w 71638"/>
                    <a:gd name="connsiteY11" fmla="*/ 284739 h 427407"/>
                    <a:gd name="connsiteX12" fmla="*/ 71639 w 71638"/>
                    <a:gd name="connsiteY12" fmla="*/ 213704 h 427407"/>
                    <a:gd name="connsiteX13" fmla="*/ 71639 w 71638"/>
                    <a:gd name="connsiteY13" fmla="*/ 213704 h 427407"/>
                    <a:gd name="connsiteX14" fmla="*/ 71639 w 71638"/>
                    <a:gd name="connsiteY14" fmla="*/ 142668 h 427407"/>
                    <a:gd name="connsiteX15" fmla="*/ 71639 w 71638"/>
                    <a:gd name="connsiteY15" fmla="*/ 142668 h 427407"/>
                    <a:gd name="connsiteX16" fmla="*/ 71639 w 71638"/>
                    <a:gd name="connsiteY16" fmla="*/ 71036 h 427407"/>
                    <a:gd name="connsiteX17" fmla="*/ 71639 w 71638"/>
                    <a:gd name="connsiteY17" fmla="*/ 71036 h 427407"/>
                    <a:gd name="connsiteX18" fmla="*/ 71639 w 71638"/>
                    <a:gd name="connsiteY18" fmla="*/ 0 h 427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1638" h="427407">
                      <a:moveTo>
                        <a:pt x="0" y="0"/>
                      </a:moveTo>
                      <a:lnTo>
                        <a:pt x="0" y="71036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71639" y="427407"/>
                      </a:lnTo>
                      <a:lnTo>
                        <a:pt x="71639" y="356372"/>
                      </a:lnTo>
                      <a:lnTo>
                        <a:pt x="71639" y="356372"/>
                      </a:lnTo>
                      <a:lnTo>
                        <a:pt x="71639" y="284739"/>
                      </a:lnTo>
                      <a:lnTo>
                        <a:pt x="71639" y="284739"/>
                      </a:lnTo>
                      <a:lnTo>
                        <a:pt x="71639" y="213704"/>
                      </a:lnTo>
                      <a:lnTo>
                        <a:pt x="71639" y="213704"/>
                      </a:lnTo>
                      <a:lnTo>
                        <a:pt x="71639" y="142668"/>
                      </a:lnTo>
                      <a:lnTo>
                        <a:pt x="71639" y="142668"/>
                      </a:lnTo>
                      <a:lnTo>
                        <a:pt x="71639" y="71036"/>
                      </a:lnTo>
                      <a:lnTo>
                        <a:pt x="71639" y="71036"/>
                      </a:lnTo>
                      <a:lnTo>
                        <a:pt x="7163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4198301D-0C40-617A-5A63-06CA1175446B}"/>
                    </a:ext>
                  </a:extLst>
                </p:cNvPr>
                <p:cNvSpPr/>
                <p:nvPr/>
              </p:nvSpPr>
              <p:spPr>
                <a:xfrm>
                  <a:off x="896210" y="1849480"/>
                  <a:ext cx="71041" cy="712146"/>
                </a:xfrm>
                <a:custGeom>
                  <a:avLst/>
                  <a:gdLst>
                    <a:gd name="connsiteX0" fmla="*/ 0 w 71041"/>
                    <a:gd name="connsiteY0" fmla="*/ 71036 h 712146"/>
                    <a:gd name="connsiteX1" fmla="*/ 0 w 71041"/>
                    <a:gd name="connsiteY1" fmla="*/ 142071 h 712146"/>
                    <a:gd name="connsiteX2" fmla="*/ 0 w 71041"/>
                    <a:gd name="connsiteY2" fmla="*/ 213704 h 712146"/>
                    <a:gd name="connsiteX3" fmla="*/ 0 w 71041"/>
                    <a:gd name="connsiteY3" fmla="*/ 284739 h 712146"/>
                    <a:gd name="connsiteX4" fmla="*/ 0 w 71041"/>
                    <a:gd name="connsiteY4" fmla="*/ 355775 h 712146"/>
                    <a:gd name="connsiteX5" fmla="*/ 0 w 71041"/>
                    <a:gd name="connsiteY5" fmla="*/ 427407 h 712146"/>
                    <a:gd name="connsiteX6" fmla="*/ 0 w 71041"/>
                    <a:gd name="connsiteY6" fmla="*/ 498443 h 712146"/>
                    <a:gd name="connsiteX7" fmla="*/ 0 w 71041"/>
                    <a:gd name="connsiteY7" fmla="*/ 569479 h 712146"/>
                    <a:gd name="connsiteX8" fmla="*/ 0 w 71041"/>
                    <a:gd name="connsiteY8" fmla="*/ 641111 h 712146"/>
                    <a:gd name="connsiteX9" fmla="*/ 0 w 71041"/>
                    <a:gd name="connsiteY9" fmla="*/ 712147 h 712146"/>
                    <a:gd name="connsiteX10" fmla="*/ 71042 w 71041"/>
                    <a:gd name="connsiteY10" fmla="*/ 712147 h 712146"/>
                    <a:gd name="connsiteX11" fmla="*/ 71042 w 71041"/>
                    <a:gd name="connsiteY11" fmla="*/ 641111 h 712146"/>
                    <a:gd name="connsiteX12" fmla="*/ 71042 w 71041"/>
                    <a:gd name="connsiteY12" fmla="*/ 569479 h 712146"/>
                    <a:gd name="connsiteX13" fmla="*/ 71042 w 71041"/>
                    <a:gd name="connsiteY13" fmla="*/ 498443 h 712146"/>
                    <a:gd name="connsiteX14" fmla="*/ 71042 w 71041"/>
                    <a:gd name="connsiteY14" fmla="*/ 427407 h 712146"/>
                    <a:gd name="connsiteX15" fmla="*/ 71042 w 71041"/>
                    <a:gd name="connsiteY15" fmla="*/ 355775 h 712146"/>
                    <a:gd name="connsiteX16" fmla="*/ 71042 w 71041"/>
                    <a:gd name="connsiteY16" fmla="*/ 284739 h 712146"/>
                    <a:gd name="connsiteX17" fmla="*/ 71042 w 71041"/>
                    <a:gd name="connsiteY17" fmla="*/ 213704 h 712146"/>
                    <a:gd name="connsiteX18" fmla="*/ 71042 w 71041"/>
                    <a:gd name="connsiteY18" fmla="*/ 142071 h 712146"/>
                    <a:gd name="connsiteX19" fmla="*/ 71042 w 71041"/>
                    <a:gd name="connsiteY19" fmla="*/ 71036 h 712146"/>
                    <a:gd name="connsiteX20" fmla="*/ 71042 w 71041"/>
                    <a:gd name="connsiteY20" fmla="*/ 0 h 712146"/>
                    <a:gd name="connsiteX21" fmla="*/ 0 w 71041"/>
                    <a:gd name="connsiteY21" fmla="*/ 0 h 712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041" h="712146">
                      <a:moveTo>
                        <a:pt x="0" y="71036"/>
                      </a:moveTo>
                      <a:lnTo>
                        <a:pt x="0" y="142071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5775"/>
                      </a:lnTo>
                      <a:lnTo>
                        <a:pt x="0" y="427407"/>
                      </a:lnTo>
                      <a:lnTo>
                        <a:pt x="0" y="498443"/>
                      </a:lnTo>
                      <a:lnTo>
                        <a:pt x="0" y="569479"/>
                      </a:lnTo>
                      <a:lnTo>
                        <a:pt x="0" y="641111"/>
                      </a:lnTo>
                      <a:lnTo>
                        <a:pt x="0" y="712147"/>
                      </a:lnTo>
                      <a:lnTo>
                        <a:pt x="71042" y="712147"/>
                      </a:lnTo>
                      <a:lnTo>
                        <a:pt x="71042" y="641111"/>
                      </a:lnTo>
                      <a:lnTo>
                        <a:pt x="71042" y="569479"/>
                      </a:lnTo>
                      <a:lnTo>
                        <a:pt x="71042" y="498443"/>
                      </a:lnTo>
                      <a:lnTo>
                        <a:pt x="71042" y="427407"/>
                      </a:lnTo>
                      <a:lnTo>
                        <a:pt x="71042" y="355775"/>
                      </a:lnTo>
                      <a:lnTo>
                        <a:pt x="71042" y="284739"/>
                      </a:lnTo>
                      <a:lnTo>
                        <a:pt x="71042" y="213704"/>
                      </a:lnTo>
                      <a:lnTo>
                        <a:pt x="71042" y="142071"/>
                      </a:lnTo>
                      <a:lnTo>
                        <a:pt x="71042" y="71036"/>
                      </a:lnTo>
                      <a:lnTo>
                        <a:pt x="7104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9" name="Freeform 48">
                  <a:extLst>
                    <a:ext uri="{FF2B5EF4-FFF2-40B4-BE49-F238E27FC236}">
                      <a16:creationId xmlns:a16="http://schemas.microsoft.com/office/drawing/2014/main" id="{AAB05F59-16DB-5533-A82D-6135BD76B78E}"/>
                    </a:ext>
                  </a:extLst>
                </p:cNvPr>
                <p:cNvSpPr/>
                <p:nvPr/>
              </p:nvSpPr>
              <p:spPr>
                <a:xfrm>
                  <a:off x="5580199" y="209840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0" name="Freeform 49">
                  <a:extLst>
                    <a:ext uri="{FF2B5EF4-FFF2-40B4-BE49-F238E27FC236}">
                      <a16:creationId xmlns:a16="http://schemas.microsoft.com/office/drawing/2014/main" id="{8CBE0EA1-4B70-6806-D522-B87FB4AB1BC2}"/>
                    </a:ext>
                  </a:extLst>
                </p:cNvPr>
                <p:cNvSpPr/>
                <p:nvPr/>
              </p:nvSpPr>
              <p:spPr>
                <a:xfrm>
                  <a:off x="5509158" y="217003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00CBA726-B17B-9B95-409C-A519D38143D2}"/>
                    </a:ext>
                  </a:extLst>
                </p:cNvPr>
                <p:cNvSpPr/>
                <p:nvPr/>
              </p:nvSpPr>
              <p:spPr>
                <a:xfrm>
                  <a:off x="5651838" y="217003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2" name="Freeform 51">
                  <a:extLst>
                    <a:ext uri="{FF2B5EF4-FFF2-40B4-BE49-F238E27FC236}">
                      <a16:creationId xmlns:a16="http://schemas.microsoft.com/office/drawing/2014/main" id="{916B470A-B464-EDB5-4216-AE79EAFC4FE5}"/>
                    </a:ext>
                  </a:extLst>
                </p:cNvPr>
                <p:cNvSpPr/>
                <p:nvPr/>
              </p:nvSpPr>
              <p:spPr>
                <a:xfrm>
                  <a:off x="5509158" y="202736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3" name="Freeform 52">
                  <a:extLst>
                    <a:ext uri="{FF2B5EF4-FFF2-40B4-BE49-F238E27FC236}">
                      <a16:creationId xmlns:a16="http://schemas.microsoft.com/office/drawing/2014/main" id="{86E6D66E-E843-9D4C-E942-0556EF0153FB}"/>
                    </a:ext>
                  </a:extLst>
                </p:cNvPr>
                <p:cNvSpPr/>
                <p:nvPr/>
              </p:nvSpPr>
              <p:spPr>
                <a:xfrm>
                  <a:off x="5651838" y="202736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4" name="Freeform 53">
                  <a:extLst>
                    <a:ext uri="{FF2B5EF4-FFF2-40B4-BE49-F238E27FC236}">
                      <a16:creationId xmlns:a16="http://schemas.microsoft.com/office/drawing/2014/main" id="{05FDB614-C837-4E59-6982-420DA88ED1B8}"/>
                    </a:ext>
                  </a:extLst>
                </p:cNvPr>
                <p:cNvSpPr/>
                <p:nvPr/>
              </p:nvSpPr>
              <p:spPr>
                <a:xfrm>
                  <a:off x="5047684" y="2027367"/>
                  <a:ext cx="213125" cy="213703"/>
                </a:xfrm>
                <a:custGeom>
                  <a:avLst/>
                  <a:gdLst>
                    <a:gd name="connsiteX0" fmla="*/ 71042 w 213125"/>
                    <a:gd name="connsiteY0" fmla="*/ 213704 h 213703"/>
                    <a:gd name="connsiteX1" fmla="*/ 142084 w 213125"/>
                    <a:gd name="connsiteY1" fmla="*/ 213704 h 213703"/>
                    <a:gd name="connsiteX2" fmla="*/ 142084 w 213125"/>
                    <a:gd name="connsiteY2" fmla="*/ 213704 h 213703"/>
                    <a:gd name="connsiteX3" fmla="*/ 213125 w 213125"/>
                    <a:gd name="connsiteY3" fmla="*/ 213704 h 213703"/>
                    <a:gd name="connsiteX4" fmla="*/ 213125 w 213125"/>
                    <a:gd name="connsiteY4" fmla="*/ 142668 h 213703"/>
                    <a:gd name="connsiteX5" fmla="*/ 213125 w 213125"/>
                    <a:gd name="connsiteY5" fmla="*/ 71036 h 213703"/>
                    <a:gd name="connsiteX6" fmla="*/ 213125 w 213125"/>
                    <a:gd name="connsiteY6" fmla="*/ 0 h 213703"/>
                    <a:gd name="connsiteX7" fmla="*/ 142084 w 213125"/>
                    <a:gd name="connsiteY7" fmla="*/ 0 h 213703"/>
                    <a:gd name="connsiteX8" fmla="*/ 71042 w 213125"/>
                    <a:gd name="connsiteY8" fmla="*/ 0 h 213703"/>
                    <a:gd name="connsiteX9" fmla="*/ 0 w 213125"/>
                    <a:gd name="connsiteY9" fmla="*/ 0 h 213703"/>
                    <a:gd name="connsiteX10" fmla="*/ 0 w 213125"/>
                    <a:gd name="connsiteY10" fmla="*/ 71036 h 213703"/>
                    <a:gd name="connsiteX11" fmla="*/ 0 w 213125"/>
                    <a:gd name="connsiteY11" fmla="*/ 142071 h 213703"/>
                    <a:gd name="connsiteX12" fmla="*/ 0 w 213125"/>
                    <a:gd name="connsiteY12" fmla="*/ 213107 h 213703"/>
                    <a:gd name="connsiteX13" fmla="*/ 71042 w 213125"/>
                    <a:gd name="connsiteY13" fmla="*/ 213107 h 213703"/>
                    <a:gd name="connsiteX14" fmla="*/ 71042 w 213125"/>
                    <a:gd name="connsiteY14" fmla="*/ 213704 h 213703"/>
                    <a:gd name="connsiteX15" fmla="*/ 71042 w 213125"/>
                    <a:gd name="connsiteY15" fmla="*/ 71036 h 213703"/>
                    <a:gd name="connsiteX16" fmla="*/ 142084 w 213125"/>
                    <a:gd name="connsiteY16" fmla="*/ 71036 h 213703"/>
                    <a:gd name="connsiteX17" fmla="*/ 142084 w 213125"/>
                    <a:gd name="connsiteY17" fmla="*/ 142071 h 213703"/>
                    <a:gd name="connsiteX18" fmla="*/ 71042 w 213125"/>
                    <a:gd name="connsiteY18" fmla="*/ 142071 h 213703"/>
                    <a:gd name="connsiteX19" fmla="*/ 71042 w 213125"/>
                    <a:gd name="connsiteY19" fmla="*/ 71036 h 213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13125" h="213703">
                      <a:moveTo>
                        <a:pt x="71042" y="213704"/>
                      </a:moveTo>
                      <a:lnTo>
                        <a:pt x="142084" y="213704"/>
                      </a:lnTo>
                      <a:lnTo>
                        <a:pt x="142084" y="213704"/>
                      </a:lnTo>
                      <a:lnTo>
                        <a:pt x="213125" y="213704"/>
                      </a:lnTo>
                      <a:lnTo>
                        <a:pt x="213125" y="142668"/>
                      </a:lnTo>
                      <a:lnTo>
                        <a:pt x="213125" y="71036"/>
                      </a:lnTo>
                      <a:lnTo>
                        <a:pt x="213125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0" y="142071"/>
                      </a:lnTo>
                      <a:lnTo>
                        <a:pt x="0" y="213107"/>
                      </a:lnTo>
                      <a:lnTo>
                        <a:pt x="71042" y="213107"/>
                      </a:lnTo>
                      <a:lnTo>
                        <a:pt x="71042" y="213704"/>
                      </a:lnTo>
                      <a:close/>
                      <a:moveTo>
                        <a:pt x="71042" y="71036"/>
                      </a:moveTo>
                      <a:lnTo>
                        <a:pt x="142084" y="71036"/>
                      </a:lnTo>
                      <a:lnTo>
                        <a:pt x="142084" y="142071"/>
                      </a:lnTo>
                      <a:lnTo>
                        <a:pt x="71042" y="142071"/>
                      </a:lnTo>
                      <a:lnTo>
                        <a:pt x="71042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5" name="Freeform 54">
                  <a:extLst>
                    <a:ext uri="{FF2B5EF4-FFF2-40B4-BE49-F238E27FC236}">
                      <a16:creationId xmlns:a16="http://schemas.microsoft.com/office/drawing/2014/main" id="{5DE8F03C-7F40-C80A-FA41-0D3E6E45E983}"/>
                    </a:ext>
                  </a:extLst>
                </p:cNvPr>
                <p:cNvSpPr/>
                <p:nvPr/>
              </p:nvSpPr>
              <p:spPr>
                <a:xfrm>
                  <a:off x="4586210" y="2170035"/>
                  <a:ext cx="213723" cy="71035"/>
                </a:xfrm>
                <a:custGeom>
                  <a:avLst/>
                  <a:gdLst>
                    <a:gd name="connsiteX0" fmla="*/ 71042 w 213723"/>
                    <a:gd name="connsiteY0" fmla="*/ 71036 h 71035"/>
                    <a:gd name="connsiteX1" fmla="*/ 142084 w 213723"/>
                    <a:gd name="connsiteY1" fmla="*/ 71036 h 71035"/>
                    <a:gd name="connsiteX2" fmla="*/ 142084 w 213723"/>
                    <a:gd name="connsiteY2" fmla="*/ 71036 h 71035"/>
                    <a:gd name="connsiteX3" fmla="*/ 213723 w 213723"/>
                    <a:gd name="connsiteY3" fmla="*/ 71036 h 71035"/>
                    <a:gd name="connsiteX4" fmla="*/ 213723 w 213723"/>
                    <a:gd name="connsiteY4" fmla="*/ 0 h 71035"/>
                    <a:gd name="connsiteX5" fmla="*/ 142084 w 213723"/>
                    <a:gd name="connsiteY5" fmla="*/ 0 h 71035"/>
                    <a:gd name="connsiteX6" fmla="*/ 71042 w 213723"/>
                    <a:gd name="connsiteY6" fmla="*/ 0 h 71035"/>
                    <a:gd name="connsiteX7" fmla="*/ 0 w 213723"/>
                    <a:gd name="connsiteY7" fmla="*/ 0 h 71035"/>
                    <a:gd name="connsiteX8" fmla="*/ 0 w 213723"/>
                    <a:gd name="connsiteY8" fmla="*/ 71036 h 71035"/>
                    <a:gd name="connsiteX9" fmla="*/ 71042 w 213723"/>
                    <a:gd name="connsiteY9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3723" h="71035">
                      <a:moveTo>
                        <a:pt x="71042" y="71036"/>
                      </a:moveTo>
                      <a:lnTo>
                        <a:pt x="142084" y="71036"/>
                      </a:lnTo>
                      <a:lnTo>
                        <a:pt x="142084" y="71036"/>
                      </a:lnTo>
                      <a:lnTo>
                        <a:pt x="213723" y="71036"/>
                      </a:lnTo>
                      <a:lnTo>
                        <a:pt x="213723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6" name="Freeform 55">
                  <a:extLst>
                    <a:ext uri="{FF2B5EF4-FFF2-40B4-BE49-F238E27FC236}">
                      <a16:creationId xmlns:a16="http://schemas.microsoft.com/office/drawing/2014/main" id="{F5B1C642-28CD-2CD8-6672-9795F1670CEF}"/>
                    </a:ext>
                  </a:extLst>
                </p:cNvPr>
                <p:cNvSpPr/>
                <p:nvPr/>
              </p:nvSpPr>
              <p:spPr>
                <a:xfrm>
                  <a:off x="6025555" y="1849480"/>
                  <a:ext cx="71638" cy="712146"/>
                </a:xfrm>
                <a:custGeom>
                  <a:avLst/>
                  <a:gdLst>
                    <a:gd name="connsiteX0" fmla="*/ 71639 w 71638"/>
                    <a:gd name="connsiteY0" fmla="*/ 71036 h 712146"/>
                    <a:gd name="connsiteX1" fmla="*/ 71639 w 71638"/>
                    <a:gd name="connsiteY1" fmla="*/ 0 h 712146"/>
                    <a:gd name="connsiteX2" fmla="*/ 0 w 71638"/>
                    <a:gd name="connsiteY2" fmla="*/ 0 h 712146"/>
                    <a:gd name="connsiteX3" fmla="*/ 0 w 71638"/>
                    <a:gd name="connsiteY3" fmla="*/ 71036 h 712146"/>
                    <a:gd name="connsiteX4" fmla="*/ 0 w 71638"/>
                    <a:gd name="connsiteY4" fmla="*/ 142071 h 712146"/>
                    <a:gd name="connsiteX5" fmla="*/ 0 w 71638"/>
                    <a:gd name="connsiteY5" fmla="*/ 213704 h 712146"/>
                    <a:gd name="connsiteX6" fmla="*/ 0 w 71638"/>
                    <a:gd name="connsiteY6" fmla="*/ 284739 h 712146"/>
                    <a:gd name="connsiteX7" fmla="*/ 0 w 71638"/>
                    <a:gd name="connsiteY7" fmla="*/ 355775 h 712146"/>
                    <a:gd name="connsiteX8" fmla="*/ 0 w 71638"/>
                    <a:gd name="connsiteY8" fmla="*/ 427407 h 712146"/>
                    <a:gd name="connsiteX9" fmla="*/ 0 w 71638"/>
                    <a:gd name="connsiteY9" fmla="*/ 498443 h 712146"/>
                    <a:gd name="connsiteX10" fmla="*/ 0 w 71638"/>
                    <a:gd name="connsiteY10" fmla="*/ 569479 h 712146"/>
                    <a:gd name="connsiteX11" fmla="*/ 0 w 71638"/>
                    <a:gd name="connsiteY11" fmla="*/ 641111 h 712146"/>
                    <a:gd name="connsiteX12" fmla="*/ 0 w 71638"/>
                    <a:gd name="connsiteY12" fmla="*/ 712147 h 712146"/>
                    <a:gd name="connsiteX13" fmla="*/ 71639 w 71638"/>
                    <a:gd name="connsiteY13" fmla="*/ 712147 h 712146"/>
                    <a:gd name="connsiteX14" fmla="*/ 71639 w 71638"/>
                    <a:gd name="connsiteY14" fmla="*/ 641111 h 712146"/>
                    <a:gd name="connsiteX15" fmla="*/ 71639 w 71638"/>
                    <a:gd name="connsiteY15" fmla="*/ 641111 h 712146"/>
                    <a:gd name="connsiteX16" fmla="*/ 71639 w 71638"/>
                    <a:gd name="connsiteY16" fmla="*/ 569479 h 712146"/>
                    <a:gd name="connsiteX17" fmla="*/ 71639 w 71638"/>
                    <a:gd name="connsiteY17" fmla="*/ 569479 h 712146"/>
                    <a:gd name="connsiteX18" fmla="*/ 71639 w 71638"/>
                    <a:gd name="connsiteY18" fmla="*/ 498443 h 712146"/>
                    <a:gd name="connsiteX19" fmla="*/ 71639 w 71638"/>
                    <a:gd name="connsiteY19" fmla="*/ 498443 h 712146"/>
                    <a:gd name="connsiteX20" fmla="*/ 71639 w 71638"/>
                    <a:gd name="connsiteY20" fmla="*/ 427407 h 712146"/>
                    <a:gd name="connsiteX21" fmla="*/ 71639 w 71638"/>
                    <a:gd name="connsiteY21" fmla="*/ 427407 h 712146"/>
                    <a:gd name="connsiteX22" fmla="*/ 71639 w 71638"/>
                    <a:gd name="connsiteY22" fmla="*/ 355775 h 712146"/>
                    <a:gd name="connsiteX23" fmla="*/ 71639 w 71638"/>
                    <a:gd name="connsiteY23" fmla="*/ 355775 h 712146"/>
                    <a:gd name="connsiteX24" fmla="*/ 71639 w 71638"/>
                    <a:gd name="connsiteY24" fmla="*/ 284739 h 712146"/>
                    <a:gd name="connsiteX25" fmla="*/ 71639 w 71638"/>
                    <a:gd name="connsiteY25" fmla="*/ 284739 h 712146"/>
                    <a:gd name="connsiteX26" fmla="*/ 71639 w 71638"/>
                    <a:gd name="connsiteY26" fmla="*/ 213704 h 712146"/>
                    <a:gd name="connsiteX27" fmla="*/ 71639 w 71638"/>
                    <a:gd name="connsiteY27" fmla="*/ 213704 h 712146"/>
                    <a:gd name="connsiteX28" fmla="*/ 71639 w 71638"/>
                    <a:gd name="connsiteY28" fmla="*/ 142071 h 712146"/>
                    <a:gd name="connsiteX29" fmla="*/ 71639 w 71638"/>
                    <a:gd name="connsiteY29" fmla="*/ 142071 h 712146"/>
                    <a:gd name="connsiteX30" fmla="*/ 71639 w 71638"/>
                    <a:gd name="connsiteY30" fmla="*/ 71036 h 712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71638" h="712146">
                      <a:moveTo>
                        <a:pt x="71639" y="71036"/>
                      </a:move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0" y="142071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5775"/>
                      </a:lnTo>
                      <a:lnTo>
                        <a:pt x="0" y="427407"/>
                      </a:lnTo>
                      <a:lnTo>
                        <a:pt x="0" y="498443"/>
                      </a:lnTo>
                      <a:lnTo>
                        <a:pt x="0" y="569479"/>
                      </a:lnTo>
                      <a:lnTo>
                        <a:pt x="0" y="641111"/>
                      </a:lnTo>
                      <a:lnTo>
                        <a:pt x="0" y="712147"/>
                      </a:lnTo>
                      <a:lnTo>
                        <a:pt x="71639" y="712147"/>
                      </a:lnTo>
                      <a:lnTo>
                        <a:pt x="71639" y="641111"/>
                      </a:lnTo>
                      <a:lnTo>
                        <a:pt x="71639" y="641111"/>
                      </a:lnTo>
                      <a:lnTo>
                        <a:pt x="71639" y="569479"/>
                      </a:lnTo>
                      <a:lnTo>
                        <a:pt x="71639" y="569479"/>
                      </a:lnTo>
                      <a:lnTo>
                        <a:pt x="71639" y="498443"/>
                      </a:lnTo>
                      <a:lnTo>
                        <a:pt x="71639" y="498443"/>
                      </a:lnTo>
                      <a:lnTo>
                        <a:pt x="71639" y="427407"/>
                      </a:lnTo>
                      <a:lnTo>
                        <a:pt x="71639" y="427407"/>
                      </a:lnTo>
                      <a:lnTo>
                        <a:pt x="71639" y="355775"/>
                      </a:lnTo>
                      <a:lnTo>
                        <a:pt x="71639" y="355775"/>
                      </a:lnTo>
                      <a:lnTo>
                        <a:pt x="71639" y="284739"/>
                      </a:lnTo>
                      <a:lnTo>
                        <a:pt x="71639" y="284739"/>
                      </a:lnTo>
                      <a:lnTo>
                        <a:pt x="71639" y="213704"/>
                      </a:lnTo>
                      <a:lnTo>
                        <a:pt x="71639" y="213704"/>
                      </a:lnTo>
                      <a:lnTo>
                        <a:pt x="71639" y="142071"/>
                      </a:lnTo>
                      <a:lnTo>
                        <a:pt x="71639" y="142071"/>
                      </a:lnTo>
                      <a:lnTo>
                        <a:pt x="71639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7" name="Freeform 56">
                  <a:extLst>
                    <a:ext uri="{FF2B5EF4-FFF2-40B4-BE49-F238E27FC236}">
                      <a16:creationId xmlns:a16="http://schemas.microsoft.com/office/drawing/2014/main" id="{F4D03817-D743-00AC-2BC3-319086B07521}"/>
                    </a:ext>
                  </a:extLst>
                </p:cNvPr>
                <p:cNvSpPr/>
                <p:nvPr/>
              </p:nvSpPr>
              <p:spPr>
                <a:xfrm>
                  <a:off x="5954513" y="177784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8" name="Freeform 57">
                  <a:extLst>
                    <a:ext uri="{FF2B5EF4-FFF2-40B4-BE49-F238E27FC236}">
                      <a16:creationId xmlns:a16="http://schemas.microsoft.com/office/drawing/2014/main" id="{E16B3924-1D05-35E0-359B-B740D7C25190}"/>
                    </a:ext>
                  </a:extLst>
                </p:cNvPr>
                <p:cNvSpPr/>
                <p:nvPr/>
              </p:nvSpPr>
              <p:spPr>
                <a:xfrm>
                  <a:off x="967251" y="177784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59" name="Freeform 58">
                  <a:extLst>
                    <a:ext uri="{FF2B5EF4-FFF2-40B4-BE49-F238E27FC236}">
                      <a16:creationId xmlns:a16="http://schemas.microsoft.com/office/drawing/2014/main" id="{DB161DAE-99FF-8D42-0ECE-090642D5F0DA}"/>
                    </a:ext>
                  </a:extLst>
                </p:cNvPr>
                <p:cNvSpPr/>
                <p:nvPr/>
              </p:nvSpPr>
              <p:spPr>
                <a:xfrm>
                  <a:off x="1038890" y="1706812"/>
                  <a:ext cx="712210" cy="71035"/>
                </a:xfrm>
                <a:custGeom>
                  <a:avLst/>
                  <a:gdLst>
                    <a:gd name="connsiteX0" fmla="*/ 569529 w 712210"/>
                    <a:gd name="connsiteY0" fmla="*/ 0 h 71035"/>
                    <a:gd name="connsiteX1" fmla="*/ 498487 w 712210"/>
                    <a:gd name="connsiteY1" fmla="*/ 0 h 71035"/>
                    <a:gd name="connsiteX2" fmla="*/ 427445 w 712210"/>
                    <a:gd name="connsiteY2" fmla="*/ 0 h 71035"/>
                    <a:gd name="connsiteX3" fmla="*/ 355807 w 712210"/>
                    <a:gd name="connsiteY3" fmla="*/ 0 h 71035"/>
                    <a:gd name="connsiteX4" fmla="*/ 284765 w 712210"/>
                    <a:gd name="connsiteY4" fmla="*/ 0 h 71035"/>
                    <a:gd name="connsiteX5" fmla="*/ 213723 w 712210"/>
                    <a:gd name="connsiteY5" fmla="*/ 0 h 71035"/>
                    <a:gd name="connsiteX6" fmla="*/ 142084 w 712210"/>
                    <a:gd name="connsiteY6" fmla="*/ 0 h 71035"/>
                    <a:gd name="connsiteX7" fmla="*/ 71042 w 712210"/>
                    <a:gd name="connsiteY7" fmla="*/ 0 h 71035"/>
                    <a:gd name="connsiteX8" fmla="*/ 0 w 712210"/>
                    <a:gd name="connsiteY8" fmla="*/ 0 h 71035"/>
                    <a:gd name="connsiteX9" fmla="*/ 0 w 712210"/>
                    <a:gd name="connsiteY9" fmla="*/ 71036 h 71035"/>
                    <a:gd name="connsiteX10" fmla="*/ 71042 w 712210"/>
                    <a:gd name="connsiteY10" fmla="*/ 71036 h 71035"/>
                    <a:gd name="connsiteX11" fmla="*/ 142084 w 712210"/>
                    <a:gd name="connsiteY11" fmla="*/ 71036 h 71035"/>
                    <a:gd name="connsiteX12" fmla="*/ 213723 w 712210"/>
                    <a:gd name="connsiteY12" fmla="*/ 71036 h 71035"/>
                    <a:gd name="connsiteX13" fmla="*/ 284765 w 712210"/>
                    <a:gd name="connsiteY13" fmla="*/ 71036 h 71035"/>
                    <a:gd name="connsiteX14" fmla="*/ 355807 w 712210"/>
                    <a:gd name="connsiteY14" fmla="*/ 71036 h 71035"/>
                    <a:gd name="connsiteX15" fmla="*/ 427445 w 712210"/>
                    <a:gd name="connsiteY15" fmla="*/ 71036 h 71035"/>
                    <a:gd name="connsiteX16" fmla="*/ 498487 w 712210"/>
                    <a:gd name="connsiteY16" fmla="*/ 71036 h 71035"/>
                    <a:gd name="connsiteX17" fmla="*/ 569529 w 712210"/>
                    <a:gd name="connsiteY17" fmla="*/ 71036 h 71035"/>
                    <a:gd name="connsiteX18" fmla="*/ 641168 w 712210"/>
                    <a:gd name="connsiteY18" fmla="*/ 71036 h 71035"/>
                    <a:gd name="connsiteX19" fmla="*/ 712210 w 712210"/>
                    <a:gd name="connsiteY19" fmla="*/ 71036 h 71035"/>
                    <a:gd name="connsiteX20" fmla="*/ 712210 w 712210"/>
                    <a:gd name="connsiteY20" fmla="*/ 0 h 71035"/>
                    <a:gd name="connsiteX21" fmla="*/ 641168 w 712210"/>
                    <a:gd name="connsiteY2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2210" h="71035">
                      <a:moveTo>
                        <a:pt x="569529" y="0"/>
                      </a:move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5807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084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5807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69529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0" name="Freeform 59">
                  <a:extLst>
                    <a:ext uri="{FF2B5EF4-FFF2-40B4-BE49-F238E27FC236}">
                      <a16:creationId xmlns:a16="http://schemas.microsoft.com/office/drawing/2014/main" id="{79F38127-3070-5AB5-D705-398C7A310363}"/>
                    </a:ext>
                  </a:extLst>
                </p:cNvPr>
                <p:cNvSpPr/>
                <p:nvPr/>
              </p:nvSpPr>
              <p:spPr>
                <a:xfrm>
                  <a:off x="1751100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1" name="Freeform 60">
                  <a:extLst>
                    <a:ext uri="{FF2B5EF4-FFF2-40B4-BE49-F238E27FC236}">
                      <a16:creationId xmlns:a16="http://schemas.microsoft.com/office/drawing/2014/main" id="{40BE268E-8175-B791-8EB3-803D91960A93}"/>
                    </a:ext>
                  </a:extLst>
                </p:cNvPr>
                <p:cNvSpPr/>
                <p:nvPr/>
              </p:nvSpPr>
              <p:spPr>
                <a:xfrm>
                  <a:off x="1822142" y="1706812"/>
                  <a:ext cx="1068613" cy="71035"/>
                </a:xfrm>
                <a:custGeom>
                  <a:avLst/>
                  <a:gdLst>
                    <a:gd name="connsiteX0" fmla="*/ 926530 w 1068613"/>
                    <a:gd name="connsiteY0" fmla="*/ 0 h 71035"/>
                    <a:gd name="connsiteX1" fmla="*/ 854891 w 1068613"/>
                    <a:gd name="connsiteY1" fmla="*/ 0 h 71035"/>
                    <a:gd name="connsiteX2" fmla="*/ 783849 w 1068613"/>
                    <a:gd name="connsiteY2" fmla="*/ 0 h 71035"/>
                    <a:gd name="connsiteX3" fmla="*/ 712807 w 1068613"/>
                    <a:gd name="connsiteY3" fmla="*/ 0 h 71035"/>
                    <a:gd name="connsiteX4" fmla="*/ 641168 w 1068613"/>
                    <a:gd name="connsiteY4" fmla="*/ 0 h 71035"/>
                    <a:gd name="connsiteX5" fmla="*/ 570126 w 1068613"/>
                    <a:gd name="connsiteY5" fmla="*/ 0 h 71035"/>
                    <a:gd name="connsiteX6" fmla="*/ 499084 w 1068613"/>
                    <a:gd name="connsiteY6" fmla="*/ 0 h 71035"/>
                    <a:gd name="connsiteX7" fmla="*/ 427445 w 1068613"/>
                    <a:gd name="connsiteY7" fmla="*/ 0 h 71035"/>
                    <a:gd name="connsiteX8" fmla="*/ 356404 w 1068613"/>
                    <a:gd name="connsiteY8" fmla="*/ 0 h 71035"/>
                    <a:gd name="connsiteX9" fmla="*/ 285362 w 1068613"/>
                    <a:gd name="connsiteY9" fmla="*/ 0 h 71035"/>
                    <a:gd name="connsiteX10" fmla="*/ 213723 w 1068613"/>
                    <a:gd name="connsiteY10" fmla="*/ 0 h 71035"/>
                    <a:gd name="connsiteX11" fmla="*/ 142681 w 1068613"/>
                    <a:gd name="connsiteY11" fmla="*/ 0 h 71035"/>
                    <a:gd name="connsiteX12" fmla="*/ 71639 w 1068613"/>
                    <a:gd name="connsiteY12" fmla="*/ 0 h 71035"/>
                    <a:gd name="connsiteX13" fmla="*/ 0 w 1068613"/>
                    <a:gd name="connsiteY13" fmla="*/ 0 h 71035"/>
                    <a:gd name="connsiteX14" fmla="*/ 0 w 1068613"/>
                    <a:gd name="connsiteY14" fmla="*/ 71036 h 71035"/>
                    <a:gd name="connsiteX15" fmla="*/ 71639 w 1068613"/>
                    <a:gd name="connsiteY15" fmla="*/ 71036 h 71035"/>
                    <a:gd name="connsiteX16" fmla="*/ 142681 w 1068613"/>
                    <a:gd name="connsiteY16" fmla="*/ 71036 h 71035"/>
                    <a:gd name="connsiteX17" fmla="*/ 213723 w 1068613"/>
                    <a:gd name="connsiteY17" fmla="*/ 71036 h 71035"/>
                    <a:gd name="connsiteX18" fmla="*/ 285362 w 1068613"/>
                    <a:gd name="connsiteY18" fmla="*/ 71036 h 71035"/>
                    <a:gd name="connsiteX19" fmla="*/ 356404 w 1068613"/>
                    <a:gd name="connsiteY19" fmla="*/ 71036 h 71035"/>
                    <a:gd name="connsiteX20" fmla="*/ 427445 w 1068613"/>
                    <a:gd name="connsiteY20" fmla="*/ 71036 h 71035"/>
                    <a:gd name="connsiteX21" fmla="*/ 499084 w 1068613"/>
                    <a:gd name="connsiteY21" fmla="*/ 71036 h 71035"/>
                    <a:gd name="connsiteX22" fmla="*/ 570126 w 1068613"/>
                    <a:gd name="connsiteY22" fmla="*/ 71036 h 71035"/>
                    <a:gd name="connsiteX23" fmla="*/ 641168 w 1068613"/>
                    <a:gd name="connsiteY23" fmla="*/ 71036 h 71035"/>
                    <a:gd name="connsiteX24" fmla="*/ 712807 w 1068613"/>
                    <a:gd name="connsiteY24" fmla="*/ 71036 h 71035"/>
                    <a:gd name="connsiteX25" fmla="*/ 783849 w 1068613"/>
                    <a:gd name="connsiteY25" fmla="*/ 71036 h 71035"/>
                    <a:gd name="connsiteX26" fmla="*/ 854891 w 1068613"/>
                    <a:gd name="connsiteY26" fmla="*/ 71036 h 71035"/>
                    <a:gd name="connsiteX27" fmla="*/ 926530 w 1068613"/>
                    <a:gd name="connsiteY27" fmla="*/ 71036 h 71035"/>
                    <a:gd name="connsiteX28" fmla="*/ 997572 w 1068613"/>
                    <a:gd name="connsiteY28" fmla="*/ 71036 h 71035"/>
                    <a:gd name="connsiteX29" fmla="*/ 1068614 w 1068613"/>
                    <a:gd name="connsiteY29" fmla="*/ 71036 h 71035"/>
                    <a:gd name="connsiteX30" fmla="*/ 1068614 w 1068613"/>
                    <a:gd name="connsiteY30" fmla="*/ 0 h 71035"/>
                    <a:gd name="connsiteX31" fmla="*/ 997572 w 1068613"/>
                    <a:gd name="connsiteY3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068613" h="71035">
                      <a:moveTo>
                        <a:pt x="926530" y="0"/>
                      </a:moveTo>
                      <a:lnTo>
                        <a:pt x="854891" y="0"/>
                      </a:lnTo>
                      <a:lnTo>
                        <a:pt x="783849" y="0"/>
                      </a:lnTo>
                      <a:lnTo>
                        <a:pt x="712807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6530" y="71036"/>
                      </a:lnTo>
                      <a:lnTo>
                        <a:pt x="997572" y="71036"/>
                      </a:lnTo>
                      <a:lnTo>
                        <a:pt x="1068614" y="71036"/>
                      </a:lnTo>
                      <a:lnTo>
                        <a:pt x="1068614" y="0"/>
                      </a:lnTo>
                      <a:lnTo>
                        <a:pt x="997572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2" name="Freeform 61">
                  <a:extLst>
                    <a:ext uri="{FF2B5EF4-FFF2-40B4-BE49-F238E27FC236}">
                      <a16:creationId xmlns:a16="http://schemas.microsoft.com/office/drawing/2014/main" id="{B694BF6C-9747-A188-3B35-287A049569AF}"/>
                    </a:ext>
                  </a:extLst>
                </p:cNvPr>
                <p:cNvSpPr/>
                <p:nvPr/>
              </p:nvSpPr>
              <p:spPr>
                <a:xfrm>
                  <a:off x="2890756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3" name="Freeform 62">
                  <a:extLst>
                    <a:ext uri="{FF2B5EF4-FFF2-40B4-BE49-F238E27FC236}">
                      <a16:creationId xmlns:a16="http://schemas.microsoft.com/office/drawing/2014/main" id="{41A6B7B3-1FE1-9F55-A76E-5C1F85564FF1}"/>
                    </a:ext>
                  </a:extLst>
                </p:cNvPr>
                <p:cNvSpPr/>
                <p:nvPr/>
              </p:nvSpPr>
              <p:spPr>
                <a:xfrm>
                  <a:off x="2962395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4" name="Freeform 63">
                  <a:extLst>
                    <a:ext uri="{FF2B5EF4-FFF2-40B4-BE49-F238E27FC236}">
                      <a16:creationId xmlns:a16="http://schemas.microsoft.com/office/drawing/2014/main" id="{03563EAE-7329-7810-A4EC-600F914FB824}"/>
                    </a:ext>
                  </a:extLst>
                </p:cNvPr>
                <p:cNvSpPr/>
                <p:nvPr/>
              </p:nvSpPr>
              <p:spPr>
                <a:xfrm>
                  <a:off x="3033437" y="1706812"/>
                  <a:ext cx="997571" cy="71035"/>
                </a:xfrm>
                <a:custGeom>
                  <a:avLst/>
                  <a:gdLst>
                    <a:gd name="connsiteX0" fmla="*/ 854891 w 997571"/>
                    <a:gd name="connsiteY0" fmla="*/ 0 h 71035"/>
                    <a:gd name="connsiteX1" fmla="*/ 783849 w 997571"/>
                    <a:gd name="connsiteY1" fmla="*/ 0 h 71035"/>
                    <a:gd name="connsiteX2" fmla="*/ 712210 w 997571"/>
                    <a:gd name="connsiteY2" fmla="*/ 0 h 71035"/>
                    <a:gd name="connsiteX3" fmla="*/ 641168 w 997571"/>
                    <a:gd name="connsiteY3" fmla="*/ 0 h 71035"/>
                    <a:gd name="connsiteX4" fmla="*/ 570126 w 997571"/>
                    <a:gd name="connsiteY4" fmla="*/ 0 h 71035"/>
                    <a:gd name="connsiteX5" fmla="*/ 498487 w 997571"/>
                    <a:gd name="connsiteY5" fmla="*/ 0 h 71035"/>
                    <a:gd name="connsiteX6" fmla="*/ 427445 w 997571"/>
                    <a:gd name="connsiteY6" fmla="*/ 0 h 71035"/>
                    <a:gd name="connsiteX7" fmla="*/ 356404 w 997571"/>
                    <a:gd name="connsiteY7" fmla="*/ 0 h 71035"/>
                    <a:gd name="connsiteX8" fmla="*/ 284765 w 997571"/>
                    <a:gd name="connsiteY8" fmla="*/ 0 h 71035"/>
                    <a:gd name="connsiteX9" fmla="*/ 213723 w 997571"/>
                    <a:gd name="connsiteY9" fmla="*/ 0 h 71035"/>
                    <a:gd name="connsiteX10" fmla="*/ 142681 w 997571"/>
                    <a:gd name="connsiteY10" fmla="*/ 0 h 71035"/>
                    <a:gd name="connsiteX11" fmla="*/ 71042 w 997571"/>
                    <a:gd name="connsiteY11" fmla="*/ 0 h 71035"/>
                    <a:gd name="connsiteX12" fmla="*/ 0 w 997571"/>
                    <a:gd name="connsiteY12" fmla="*/ 0 h 71035"/>
                    <a:gd name="connsiteX13" fmla="*/ 0 w 997571"/>
                    <a:gd name="connsiteY13" fmla="*/ 71036 h 71035"/>
                    <a:gd name="connsiteX14" fmla="*/ 71042 w 997571"/>
                    <a:gd name="connsiteY14" fmla="*/ 71036 h 71035"/>
                    <a:gd name="connsiteX15" fmla="*/ 142681 w 997571"/>
                    <a:gd name="connsiteY15" fmla="*/ 71036 h 71035"/>
                    <a:gd name="connsiteX16" fmla="*/ 213723 w 997571"/>
                    <a:gd name="connsiteY16" fmla="*/ 71036 h 71035"/>
                    <a:gd name="connsiteX17" fmla="*/ 284765 w 997571"/>
                    <a:gd name="connsiteY17" fmla="*/ 71036 h 71035"/>
                    <a:gd name="connsiteX18" fmla="*/ 356404 w 997571"/>
                    <a:gd name="connsiteY18" fmla="*/ 71036 h 71035"/>
                    <a:gd name="connsiteX19" fmla="*/ 427445 w 997571"/>
                    <a:gd name="connsiteY19" fmla="*/ 71036 h 71035"/>
                    <a:gd name="connsiteX20" fmla="*/ 498487 w 997571"/>
                    <a:gd name="connsiteY20" fmla="*/ 71036 h 71035"/>
                    <a:gd name="connsiteX21" fmla="*/ 570126 w 997571"/>
                    <a:gd name="connsiteY21" fmla="*/ 71036 h 71035"/>
                    <a:gd name="connsiteX22" fmla="*/ 641168 w 997571"/>
                    <a:gd name="connsiteY22" fmla="*/ 71036 h 71035"/>
                    <a:gd name="connsiteX23" fmla="*/ 712210 w 997571"/>
                    <a:gd name="connsiteY23" fmla="*/ 71036 h 71035"/>
                    <a:gd name="connsiteX24" fmla="*/ 783849 w 997571"/>
                    <a:gd name="connsiteY24" fmla="*/ 71036 h 71035"/>
                    <a:gd name="connsiteX25" fmla="*/ 854891 w 997571"/>
                    <a:gd name="connsiteY25" fmla="*/ 71036 h 71035"/>
                    <a:gd name="connsiteX26" fmla="*/ 925933 w 997571"/>
                    <a:gd name="connsiteY26" fmla="*/ 71036 h 71035"/>
                    <a:gd name="connsiteX27" fmla="*/ 997572 w 997571"/>
                    <a:gd name="connsiteY27" fmla="*/ 71036 h 71035"/>
                    <a:gd name="connsiteX28" fmla="*/ 997572 w 997571"/>
                    <a:gd name="connsiteY28" fmla="*/ 0 h 71035"/>
                    <a:gd name="connsiteX29" fmla="*/ 925933 w 997571"/>
                    <a:gd name="connsiteY29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997571" h="71035">
                      <a:moveTo>
                        <a:pt x="854891" y="0"/>
                      </a:moveTo>
                      <a:lnTo>
                        <a:pt x="783849" y="0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5933" y="71036"/>
                      </a:lnTo>
                      <a:lnTo>
                        <a:pt x="997572" y="71036"/>
                      </a:lnTo>
                      <a:lnTo>
                        <a:pt x="997572" y="0"/>
                      </a:lnTo>
                      <a:lnTo>
                        <a:pt x="925933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5" name="Freeform 64">
                  <a:extLst>
                    <a:ext uri="{FF2B5EF4-FFF2-40B4-BE49-F238E27FC236}">
                      <a16:creationId xmlns:a16="http://schemas.microsoft.com/office/drawing/2014/main" id="{3137A35D-0553-CF46-C6A7-FC5E2F0CF5F5}"/>
                    </a:ext>
                  </a:extLst>
                </p:cNvPr>
                <p:cNvSpPr/>
                <p:nvPr/>
              </p:nvSpPr>
              <p:spPr>
                <a:xfrm>
                  <a:off x="4031008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6" name="Freeform 65">
                  <a:extLst>
                    <a:ext uri="{FF2B5EF4-FFF2-40B4-BE49-F238E27FC236}">
                      <a16:creationId xmlns:a16="http://schemas.microsoft.com/office/drawing/2014/main" id="{1D24547C-AB78-5B73-CC1A-BFAF49207850}"/>
                    </a:ext>
                  </a:extLst>
                </p:cNvPr>
                <p:cNvSpPr/>
                <p:nvPr/>
              </p:nvSpPr>
              <p:spPr>
                <a:xfrm>
                  <a:off x="4102050" y="1706812"/>
                  <a:ext cx="854890" cy="71035"/>
                </a:xfrm>
                <a:custGeom>
                  <a:avLst/>
                  <a:gdLst>
                    <a:gd name="connsiteX0" fmla="*/ 712807 w 854890"/>
                    <a:gd name="connsiteY0" fmla="*/ 0 h 71035"/>
                    <a:gd name="connsiteX1" fmla="*/ 641168 w 854890"/>
                    <a:gd name="connsiteY1" fmla="*/ 0 h 71035"/>
                    <a:gd name="connsiteX2" fmla="*/ 570126 w 854890"/>
                    <a:gd name="connsiteY2" fmla="*/ 0 h 71035"/>
                    <a:gd name="connsiteX3" fmla="*/ 499084 w 854890"/>
                    <a:gd name="connsiteY3" fmla="*/ 0 h 71035"/>
                    <a:gd name="connsiteX4" fmla="*/ 427445 w 854890"/>
                    <a:gd name="connsiteY4" fmla="*/ 0 h 71035"/>
                    <a:gd name="connsiteX5" fmla="*/ 356404 w 854890"/>
                    <a:gd name="connsiteY5" fmla="*/ 0 h 71035"/>
                    <a:gd name="connsiteX6" fmla="*/ 285362 w 854890"/>
                    <a:gd name="connsiteY6" fmla="*/ 0 h 71035"/>
                    <a:gd name="connsiteX7" fmla="*/ 213723 w 854890"/>
                    <a:gd name="connsiteY7" fmla="*/ 0 h 71035"/>
                    <a:gd name="connsiteX8" fmla="*/ 142681 w 854890"/>
                    <a:gd name="connsiteY8" fmla="*/ 0 h 71035"/>
                    <a:gd name="connsiteX9" fmla="*/ 71639 w 854890"/>
                    <a:gd name="connsiteY9" fmla="*/ 0 h 71035"/>
                    <a:gd name="connsiteX10" fmla="*/ 0 w 854890"/>
                    <a:gd name="connsiteY10" fmla="*/ 0 h 71035"/>
                    <a:gd name="connsiteX11" fmla="*/ 0 w 854890"/>
                    <a:gd name="connsiteY11" fmla="*/ 71036 h 71035"/>
                    <a:gd name="connsiteX12" fmla="*/ 71639 w 854890"/>
                    <a:gd name="connsiteY12" fmla="*/ 71036 h 71035"/>
                    <a:gd name="connsiteX13" fmla="*/ 142681 w 854890"/>
                    <a:gd name="connsiteY13" fmla="*/ 71036 h 71035"/>
                    <a:gd name="connsiteX14" fmla="*/ 213723 w 854890"/>
                    <a:gd name="connsiteY14" fmla="*/ 71036 h 71035"/>
                    <a:gd name="connsiteX15" fmla="*/ 285362 w 854890"/>
                    <a:gd name="connsiteY15" fmla="*/ 71036 h 71035"/>
                    <a:gd name="connsiteX16" fmla="*/ 356404 w 854890"/>
                    <a:gd name="connsiteY16" fmla="*/ 71036 h 71035"/>
                    <a:gd name="connsiteX17" fmla="*/ 427445 w 854890"/>
                    <a:gd name="connsiteY17" fmla="*/ 71036 h 71035"/>
                    <a:gd name="connsiteX18" fmla="*/ 499084 w 854890"/>
                    <a:gd name="connsiteY18" fmla="*/ 71036 h 71035"/>
                    <a:gd name="connsiteX19" fmla="*/ 570126 w 854890"/>
                    <a:gd name="connsiteY19" fmla="*/ 71036 h 71035"/>
                    <a:gd name="connsiteX20" fmla="*/ 641168 w 854890"/>
                    <a:gd name="connsiteY20" fmla="*/ 71036 h 71035"/>
                    <a:gd name="connsiteX21" fmla="*/ 712807 w 854890"/>
                    <a:gd name="connsiteY21" fmla="*/ 71036 h 71035"/>
                    <a:gd name="connsiteX22" fmla="*/ 783849 w 854890"/>
                    <a:gd name="connsiteY22" fmla="*/ 71036 h 71035"/>
                    <a:gd name="connsiteX23" fmla="*/ 854891 w 854890"/>
                    <a:gd name="connsiteY23" fmla="*/ 71036 h 71035"/>
                    <a:gd name="connsiteX24" fmla="*/ 854891 w 854890"/>
                    <a:gd name="connsiteY24" fmla="*/ 0 h 71035"/>
                    <a:gd name="connsiteX25" fmla="*/ 783849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12807" y="0"/>
                      </a:move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lnTo>
                        <a:pt x="78384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7" name="Freeform 66">
                  <a:extLst>
                    <a:ext uri="{FF2B5EF4-FFF2-40B4-BE49-F238E27FC236}">
                      <a16:creationId xmlns:a16="http://schemas.microsoft.com/office/drawing/2014/main" id="{3E970770-3376-6F1C-86B7-F5C9E142A0CB}"/>
                    </a:ext>
                  </a:extLst>
                </p:cNvPr>
                <p:cNvSpPr/>
                <p:nvPr/>
              </p:nvSpPr>
              <p:spPr>
                <a:xfrm>
                  <a:off x="4956941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8" name="Freeform 67">
                  <a:extLst>
                    <a:ext uri="{FF2B5EF4-FFF2-40B4-BE49-F238E27FC236}">
                      <a16:creationId xmlns:a16="http://schemas.microsoft.com/office/drawing/2014/main" id="{61FA8B63-19BB-B468-5CD9-C710ECAD72F4}"/>
                    </a:ext>
                  </a:extLst>
                </p:cNvPr>
                <p:cNvSpPr/>
                <p:nvPr/>
              </p:nvSpPr>
              <p:spPr>
                <a:xfrm>
                  <a:off x="5028580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69" name="Freeform 68">
                  <a:extLst>
                    <a:ext uri="{FF2B5EF4-FFF2-40B4-BE49-F238E27FC236}">
                      <a16:creationId xmlns:a16="http://schemas.microsoft.com/office/drawing/2014/main" id="{2B97F573-1113-E046-A776-0616C8F10A20}"/>
                    </a:ext>
                  </a:extLst>
                </p:cNvPr>
                <p:cNvSpPr/>
                <p:nvPr/>
              </p:nvSpPr>
              <p:spPr>
                <a:xfrm>
                  <a:off x="5099622" y="1706812"/>
                  <a:ext cx="854890" cy="71035"/>
                </a:xfrm>
                <a:custGeom>
                  <a:avLst/>
                  <a:gdLst>
                    <a:gd name="connsiteX0" fmla="*/ 783849 w 854890"/>
                    <a:gd name="connsiteY0" fmla="*/ 0 h 71035"/>
                    <a:gd name="connsiteX1" fmla="*/ 712210 w 854890"/>
                    <a:gd name="connsiteY1" fmla="*/ 0 h 71035"/>
                    <a:gd name="connsiteX2" fmla="*/ 641168 w 854890"/>
                    <a:gd name="connsiteY2" fmla="*/ 0 h 71035"/>
                    <a:gd name="connsiteX3" fmla="*/ 570126 w 854890"/>
                    <a:gd name="connsiteY3" fmla="*/ 0 h 71035"/>
                    <a:gd name="connsiteX4" fmla="*/ 498487 w 854890"/>
                    <a:gd name="connsiteY4" fmla="*/ 0 h 71035"/>
                    <a:gd name="connsiteX5" fmla="*/ 427446 w 854890"/>
                    <a:gd name="connsiteY5" fmla="*/ 0 h 71035"/>
                    <a:gd name="connsiteX6" fmla="*/ 356404 w 854890"/>
                    <a:gd name="connsiteY6" fmla="*/ 0 h 71035"/>
                    <a:gd name="connsiteX7" fmla="*/ 284765 w 854890"/>
                    <a:gd name="connsiteY7" fmla="*/ 0 h 71035"/>
                    <a:gd name="connsiteX8" fmla="*/ 213723 w 854890"/>
                    <a:gd name="connsiteY8" fmla="*/ 0 h 71035"/>
                    <a:gd name="connsiteX9" fmla="*/ 142681 w 854890"/>
                    <a:gd name="connsiteY9" fmla="*/ 0 h 71035"/>
                    <a:gd name="connsiteX10" fmla="*/ 71042 w 854890"/>
                    <a:gd name="connsiteY10" fmla="*/ 0 h 71035"/>
                    <a:gd name="connsiteX11" fmla="*/ 0 w 854890"/>
                    <a:gd name="connsiteY11" fmla="*/ 0 h 71035"/>
                    <a:gd name="connsiteX12" fmla="*/ 0 w 854890"/>
                    <a:gd name="connsiteY12" fmla="*/ 71036 h 71035"/>
                    <a:gd name="connsiteX13" fmla="*/ 71042 w 854890"/>
                    <a:gd name="connsiteY13" fmla="*/ 71036 h 71035"/>
                    <a:gd name="connsiteX14" fmla="*/ 142681 w 854890"/>
                    <a:gd name="connsiteY14" fmla="*/ 71036 h 71035"/>
                    <a:gd name="connsiteX15" fmla="*/ 213723 w 854890"/>
                    <a:gd name="connsiteY15" fmla="*/ 71036 h 71035"/>
                    <a:gd name="connsiteX16" fmla="*/ 284765 w 854890"/>
                    <a:gd name="connsiteY16" fmla="*/ 71036 h 71035"/>
                    <a:gd name="connsiteX17" fmla="*/ 356404 w 854890"/>
                    <a:gd name="connsiteY17" fmla="*/ 71036 h 71035"/>
                    <a:gd name="connsiteX18" fmla="*/ 427446 w 854890"/>
                    <a:gd name="connsiteY18" fmla="*/ 71036 h 71035"/>
                    <a:gd name="connsiteX19" fmla="*/ 498487 w 854890"/>
                    <a:gd name="connsiteY19" fmla="*/ 71036 h 71035"/>
                    <a:gd name="connsiteX20" fmla="*/ 570126 w 854890"/>
                    <a:gd name="connsiteY20" fmla="*/ 71036 h 71035"/>
                    <a:gd name="connsiteX21" fmla="*/ 641168 w 854890"/>
                    <a:gd name="connsiteY21" fmla="*/ 71036 h 71035"/>
                    <a:gd name="connsiteX22" fmla="*/ 712210 w 854890"/>
                    <a:gd name="connsiteY22" fmla="*/ 71036 h 71035"/>
                    <a:gd name="connsiteX23" fmla="*/ 783849 w 854890"/>
                    <a:gd name="connsiteY23" fmla="*/ 71036 h 71035"/>
                    <a:gd name="connsiteX24" fmla="*/ 854891 w 854890"/>
                    <a:gd name="connsiteY24" fmla="*/ 71036 h 71035"/>
                    <a:gd name="connsiteX25" fmla="*/ 854891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83849" y="0"/>
                      </a:moveTo>
                      <a:lnTo>
                        <a:pt x="712210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6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6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</p:grpSp>
        </p:grpSp>
        <p:sp>
          <p:nvSpPr>
            <p:cNvPr id="139" name="Content Placeholder 3">
              <a:extLst>
                <a:ext uri="{FF2B5EF4-FFF2-40B4-BE49-F238E27FC236}">
                  <a16:creationId xmlns:a16="http://schemas.microsoft.com/office/drawing/2014/main" id="{5D444403-4D41-F1D8-81D6-484E16EE4D8F}"/>
                </a:ext>
              </a:extLst>
            </p:cNvPr>
            <p:cNvSpPr txBox="1">
              <a:spLocks/>
            </p:cNvSpPr>
            <p:nvPr/>
          </p:nvSpPr>
          <p:spPr>
            <a:xfrm>
              <a:off x="1303165" y="2439783"/>
              <a:ext cx="4419714" cy="3220907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468000" indent="-4680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00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32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4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6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Gaps = holes in the sequence</a:t>
              </a:r>
            </a:p>
            <a:p>
              <a:pPr marL="266700" indent="-255588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bg1"/>
                  </a:solidFill>
                </a:rPr>
                <a:t>how many times did a server go offline, and for how long?</a:t>
              </a:r>
            </a:p>
            <a:p>
              <a:pPr marL="266700" indent="-255588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bg1"/>
                  </a:solidFill>
                </a:rPr>
                <a:t>when did a student not attend class?</a:t>
              </a:r>
            </a:p>
            <a:p>
              <a:pPr marL="266700" indent="-255588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bg1"/>
                  </a:solidFill>
                </a:rPr>
                <a:t>when was a consultant not on a project?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A37293A7-7CB4-9B9C-9C2A-D192E0AFEA6C}"/>
              </a:ext>
            </a:extLst>
          </p:cNvPr>
          <p:cNvGrpSpPr/>
          <p:nvPr/>
        </p:nvGrpSpPr>
        <p:grpSpPr>
          <a:xfrm>
            <a:off x="6406911" y="1818572"/>
            <a:ext cx="5200984" cy="4220350"/>
            <a:chOff x="6406911" y="1818572"/>
            <a:chExt cx="5200984" cy="4220350"/>
          </a:xfrm>
        </p:grpSpPr>
        <p:grpSp>
          <p:nvGrpSpPr>
            <p:cNvPr id="72" name="Graphic 12">
              <a:extLst>
                <a:ext uri="{FF2B5EF4-FFF2-40B4-BE49-F238E27FC236}">
                  <a16:creationId xmlns:a16="http://schemas.microsoft.com/office/drawing/2014/main" id="{B446EAA0-F099-5C72-1442-1AC1EBB1A1B1}"/>
                </a:ext>
              </a:extLst>
            </p:cNvPr>
            <p:cNvGrpSpPr/>
            <p:nvPr/>
          </p:nvGrpSpPr>
          <p:grpSpPr>
            <a:xfrm>
              <a:off x="6406911" y="1818572"/>
              <a:ext cx="5200984" cy="4220350"/>
              <a:chOff x="6406911" y="1706812"/>
              <a:chExt cx="5200984" cy="4220350"/>
            </a:xfrm>
          </p:grpSpPr>
          <p:grpSp>
            <p:nvGrpSpPr>
              <p:cNvPr id="73" name="Graphic 12">
                <a:extLst>
                  <a:ext uri="{FF2B5EF4-FFF2-40B4-BE49-F238E27FC236}">
                    <a16:creationId xmlns:a16="http://schemas.microsoft.com/office/drawing/2014/main" id="{7B0ED6C3-ACCA-6672-5758-6BEA41C741A0}"/>
                  </a:ext>
                </a:extLst>
              </p:cNvPr>
              <p:cNvGrpSpPr/>
              <p:nvPr/>
            </p:nvGrpSpPr>
            <p:grpSpPr>
              <a:xfrm>
                <a:off x="6477952" y="1777847"/>
                <a:ext cx="5058303" cy="4078278"/>
                <a:chOff x="6477952" y="1777847"/>
                <a:chExt cx="5058303" cy="4078278"/>
              </a:xfrm>
            </p:grpSpPr>
            <p:sp>
              <p:nvSpPr>
                <p:cNvPr id="137" name="Freeform 136">
                  <a:extLst>
                    <a:ext uri="{FF2B5EF4-FFF2-40B4-BE49-F238E27FC236}">
                      <a16:creationId xmlns:a16="http://schemas.microsoft.com/office/drawing/2014/main" id="{222F3743-5E78-6622-DD1C-F5C6A2850C20}"/>
                    </a:ext>
                  </a:extLst>
                </p:cNvPr>
                <p:cNvSpPr/>
                <p:nvPr/>
              </p:nvSpPr>
              <p:spPr>
                <a:xfrm>
                  <a:off x="6477952" y="1849480"/>
                  <a:ext cx="5969" cy="498443"/>
                </a:xfrm>
                <a:custGeom>
                  <a:avLst/>
                  <a:gdLst>
                    <a:gd name="connsiteX0" fmla="*/ 0 w 5969"/>
                    <a:gd name="connsiteY0" fmla="*/ 0 h 498443"/>
                    <a:gd name="connsiteX1" fmla="*/ 0 w 5969"/>
                    <a:gd name="connsiteY1" fmla="*/ 498443 h 498443"/>
                    <a:gd name="connsiteX2" fmla="*/ 0 w 5969"/>
                    <a:gd name="connsiteY2" fmla="*/ 498443 h 498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69" h="498443">
                      <a:moveTo>
                        <a:pt x="0" y="0"/>
                      </a:moveTo>
                      <a:lnTo>
                        <a:pt x="0" y="498443"/>
                      </a:lnTo>
                      <a:lnTo>
                        <a:pt x="0" y="498443"/>
                      </a:lnTo>
                      <a:close/>
                    </a:path>
                  </a:pathLst>
                </a:custGeom>
                <a:solidFill>
                  <a:srgbClr val="1A9DFF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8" name="Freeform 137">
                  <a:extLst>
                    <a:ext uri="{FF2B5EF4-FFF2-40B4-BE49-F238E27FC236}">
                      <a16:creationId xmlns:a16="http://schemas.microsoft.com/office/drawing/2014/main" id="{29D4C2BC-2973-1F8E-9C94-58EEC4280D6A}"/>
                    </a:ext>
                  </a:extLst>
                </p:cNvPr>
                <p:cNvSpPr/>
                <p:nvPr/>
              </p:nvSpPr>
              <p:spPr>
                <a:xfrm>
                  <a:off x="6477952" y="1777847"/>
                  <a:ext cx="5058303" cy="4078278"/>
                </a:xfrm>
                <a:custGeom>
                  <a:avLst/>
                  <a:gdLst>
                    <a:gd name="connsiteX0" fmla="*/ 4987261 w 5058303"/>
                    <a:gd name="connsiteY0" fmla="*/ 71633 h 4078278"/>
                    <a:gd name="connsiteX1" fmla="*/ 4987261 w 5058303"/>
                    <a:gd name="connsiteY1" fmla="*/ 71633 h 4078278"/>
                    <a:gd name="connsiteX2" fmla="*/ 4987261 w 5058303"/>
                    <a:gd name="connsiteY2" fmla="*/ 0 h 4078278"/>
                    <a:gd name="connsiteX3" fmla="*/ 71639 w 5058303"/>
                    <a:gd name="connsiteY3" fmla="*/ 0 h 4078278"/>
                    <a:gd name="connsiteX4" fmla="*/ 71639 w 5058303"/>
                    <a:gd name="connsiteY4" fmla="*/ 71633 h 4078278"/>
                    <a:gd name="connsiteX5" fmla="*/ 71639 w 5058303"/>
                    <a:gd name="connsiteY5" fmla="*/ 71633 h 4078278"/>
                    <a:gd name="connsiteX6" fmla="*/ 0 w 5058303"/>
                    <a:gd name="connsiteY6" fmla="*/ 71633 h 4078278"/>
                    <a:gd name="connsiteX7" fmla="*/ 0 w 5058303"/>
                    <a:gd name="connsiteY7" fmla="*/ 142668 h 4078278"/>
                    <a:gd name="connsiteX8" fmla="*/ 0 w 5058303"/>
                    <a:gd name="connsiteY8" fmla="*/ 142668 h 4078278"/>
                    <a:gd name="connsiteX9" fmla="*/ 0 w 5058303"/>
                    <a:gd name="connsiteY9" fmla="*/ 570076 h 4078278"/>
                    <a:gd name="connsiteX10" fmla="*/ 0 w 5058303"/>
                    <a:gd name="connsiteY10" fmla="*/ 570076 h 4078278"/>
                    <a:gd name="connsiteX11" fmla="*/ 0 w 5058303"/>
                    <a:gd name="connsiteY11" fmla="*/ 4006646 h 4078278"/>
                    <a:gd name="connsiteX12" fmla="*/ 71639 w 5058303"/>
                    <a:gd name="connsiteY12" fmla="*/ 4006646 h 4078278"/>
                    <a:gd name="connsiteX13" fmla="*/ 71639 w 5058303"/>
                    <a:gd name="connsiteY13" fmla="*/ 4078279 h 4078278"/>
                    <a:gd name="connsiteX14" fmla="*/ 4987261 w 5058303"/>
                    <a:gd name="connsiteY14" fmla="*/ 4078279 h 4078278"/>
                    <a:gd name="connsiteX15" fmla="*/ 4987261 w 5058303"/>
                    <a:gd name="connsiteY15" fmla="*/ 4006646 h 4078278"/>
                    <a:gd name="connsiteX16" fmla="*/ 5058304 w 5058303"/>
                    <a:gd name="connsiteY16" fmla="*/ 4006646 h 4078278"/>
                    <a:gd name="connsiteX17" fmla="*/ 5058304 w 5058303"/>
                    <a:gd name="connsiteY17" fmla="*/ 570076 h 4078278"/>
                    <a:gd name="connsiteX18" fmla="*/ 5058304 w 5058303"/>
                    <a:gd name="connsiteY18" fmla="*/ 142668 h 4078278"/>
                    <a:gd name="connsiteX19" fmla="*/ 5058304 w 5058303"/>
                    <a:gd name="connsiteY19" fmla="*/ 142668 h 4078278"/>
                    <a:gd name="connsiteX20" fmla="*/ 5058304 w 5058303"/>
                    <a:gd name="connsiteY20" fmla="*/ 71633 h 4078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058303" h="4078278">
                      <a:moveTo>
                        <a:pt x="4987261" y="71633"/>
                      </a:moveTo>
                      <a:lnTo>
                        <a:pt x="4987261" y="71633"/>
                      </a:lnTo>
                      <a:lnTo>
                        <a:pt x="4987261" y="0"/>
                      </a:lnTo>
                      <a:lnTo>
                        <a:pt x="71639" y="0"/>
                      </a:lnTo>
                      <a:lnTo>
                        <a:pt x="71639" y="71633"/>
                      </a:lnTo>
                      <a:lnTo>
                        <a:pt x="71639" y="71633"/>
                      </a:lnTo>
                      <a:lnTo>
                        <a:pt x="0" y="71633"/>
                      </a:lnTo>
                      <a:lnTo>
                        <a:pt x="0" y="142668"/>
                      </a:lnTo>
                      <a:lnTo>
                        <a:pt x="0" y="142668"/>
                      </a:lnTo>
                      <a:lnTo>
                        <a:pt x="0" y="570076"/>
                      </a:lnTo>
                      <a:lnTo>
                        <a:pt x="0" y="570076"/>
                      </a:lnTo>
                      <a:lnTo>
                        <a:pt x="0" y="4006646"/>
                      </a:lnTo>
                      <a:lnTo>
                        <a:pt x="71639" y="4006646"/>
                      </a:lnTo>
                      <a:lnTo>
                        <a:pt x="71639" y="4078279"/>
                      </a:lnTo>
                      <a:lnTo>
                        <a:pt x="4987261" y="4078279"/>
                      </a:lnTo>
                      <a:lnTo>
                        <a:pt x="4987261" y="4006646"/>
                      </a:lnTo>
                      <a:lnTo>
                        <a:pt x="5058304" y="4006646"/>
                      </a:lnTo>
                      <a:lnTo>
                        <a:pt x="5058304" y="570076"/>
                      </a:lnTo>
                      <a:lnTo>
                        <a:pt x="5058304" y="142668"/>
                      </a:lnTo>
                      <a:lnTo>
                        <a:pt x="5058304" y="142668"/>
                      </a:lnTo>
                      <a:lnTo>
                        <a:pt x="5058304" y="7163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grpSp>
            <p:nvGrpSpPr>
              <p:cNvPr id="74" name="Graphic 12">
                <a:extLst>
                  <a:ext uri="{FF2B5EF4-FFF2-40B4-BE49-F238E27FC236}">
                    <a16:creationId xmlns:a16="http://schemas.microsoft.com/office/drawing/2014/main" id="{1012353B-BD9F-5ACF-9F35-EC68339D7452}"/>
                  </a:ext>
                </a:extLst>
              </p:cNvPr>
              <p:cNvGrpSpPr/>
              <p:nvPr/>
            </p:nvGrpSpPr>
            <p:grpSpPr>
              <a:xfrm>
                <a:off x="6406911" y="1706812"/>
                <a:ext cx="5200984" cy="4220350"/>
                <a:chOff x="6406911" y="1706812"/>
                <a:chExt cx="5200984" cy="4220350"/>
              </a:xfrm>
              <a:solidFill>
                <a:srgbClr val="000600"/>
              </a:solidFill>
            </p:grpSpPr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A856AE09-ED92-764C-75D4-5DD230607D08}"/>
                    </a:ext>
                  </a:extLst>
                </p:cNvPr>
                <p:cNvSpPr/>
                <p:nvPr/>
              </p:nvSpPr>
              <p:spPr>
                <a:xfrm>
                  <a:off x="6406911" y="3273773"/>
                  <a:ext cx="71041" cy="1941241"/>
                </a:xfrm>
                <a:custGeom>
                  <a:avLst/>
                  <a:gdLst>
                    <a:gd name="connsiteX0" fmla="*/ 71042 w 71041"/>
                    <a:gd name="connsiteY0" fmla="*/ 1798573 h 1941241"/>
                    <a:gd name="connsiteX1" fmla="*/ 71042 w 71041"/>
                    <a:gd name="connsiteY1" fmla="*/ 1727538 h 1941241"/>
                    <a:gd name="connsiteX2" fmla="*/ 71042 w 71041"/>
                    <a:gd name="connsiteY2" fmla="*/ 1655906 h 1941241"/>
                    <a:gd name="connsiteX3" fmla="*/ 71042 w 71041"/>
                    <a:gd name="connsiteY3" fmla="*/ 1584870 h 1941241"/>
                    <a:gd name="connsiteX4" fmla="*/ 71042 w 71041"/>
                    <a:gd name="connsiteY4" fmla="*/ 1513834 h 1941241"/>
                    <a:gd name="connsiteX5" fmla="*/ 71042 w 71041"/>
                    <a:gd name="connsiteY5" fmla="*/ 1442202 h 1941241"/>
                    <a:gd name="connsiteX6" fmla="*/ 71042 w 71041"/>
                    <a:gd name="connsiteY6" fmla="*/ 1371166 h 1941241"/>
                    <a:gd name="connsiteX7" fmla="*/ 71042 w 71041"/>
                    <a:gd name="connsiteY7" fmla="*/ 1300130 h 1941241"/>
                    <a:gd name="connsiteX8" fmla="*/ 71042 w 71041"/>
                    <a:gd name="connsiteY8" fmla="*/ 1228498 h 1941241"/>
                    <a:gd name="connsiteX9" fmla="*/ 71042 w 71041"/>
                    <a:gd name="connsiteY9" fmla="*/ 213704 h 1941241"/>
                    <a:gd name="connsiteX10" fmla="*/ 71042 w 71041"/>
                    <a:gd name="connsiteY10" fmla="*/ 142668 h 1941241"/>
                    <a:gd name="connsiteX11" fmla="*/ 71042 w 71041"/>
                    <a:gd name="connsiteY11" fmla="*/ 71633 h 1941241"/>
                    <a:gd name="connsiteX12" fmla="*/ 71042 w 71041"/>
                    <a:gd name="connsiteY12" fmla="*/ 0 h 1941241"/>
                    <a:gd name="connsiteX13" fmla="*/ 0 w 71041"/>
                    <a:gd name="connsiteY13" fmla="*/ 0 h 1941241"/>
                    <a:gd name="connsiteX14" fmla="*/ 0 w 71041"/>
                    <a:gd name="connsiteY14" fmla="*/ 71633 h 1941241"/>
                    <a:gd name="connsiteX15" fmla="*/ 0 w 71041"/>
                    <a:gd name="connsiteY15" fmla="*/ 142668 h 1941241"/>
                    <a:gd name="connsiteX16" fmla="*/ 0 w 71041"/>
                    <a:gd name="connsiteY16" fmla="*/ 213704 h 1941241"/>
                    <a:gd name="connsiteX17" fmla="*/ 0 w 71041"/>
                    <a:gd name="connsiteY17" fmla="*/ 1228498 h 1941241"/>
                    <a:gd name="connsiteX18" fmla="*/ 0 w 71041"/>
                    <a:gd name="connsiteY18" fmla="*/ 1300130 h 1941241"/>
                    <a:gd name="connsiteX19" fmla="*/ 0 w 71041"/>
                    <a:gd name="connsiteY19" fmla="*/ 1371166 h 1941241"/>
                    <a:gd name="connsiteX20" fmla="*/ 0 w 71041"/>
                    <a:gd name="connsiteY20" fmla="*/ 1442202 h 1941241"/>
                    <a:gd name="connsiteX21" fmla="*/ 0 w 71041"/>
                    <a:gd name="connsiteY21" fmla="*/ 1513834 h 1941241"/>
                    <a:gd name="connsiteX22" fmla="*/ 0 w 71041"/>
                    <a:gd name="connsiteY22" fmla="*/ 1584870 h 1941241"/>
                    <a:gd name="connsiteX23" fmla="*/ 0 w 71041"/>
                    <a:gd name="connsiteY23" fmla="*/ 1655906 h 1941241"/>
                    <a:gd name="connsiteX24" fmla="*/ 0 w 71041"/>
                    <a:gd name="connsiteY24" fmla="*/ 1727538 h 1941241"/>
                    <a:gd name="connsiteX25" fmla="*/ 0 w 71041"/>
                    <a:gd name="connsiteY25" fmla="*/ 1798573 h 1941241"/>
                    <a:gd name="connsiteX26" fmla="*/ 0 w 71041"/>
                    <a:gd name="connsiteY26" fmla="*/ 1869609 h 1941241"/>
                    <a:gd name="connsiteX27" fmla="*/ 0 w 71041"/>
                    <a:gd name="connsiteY27" fmla="*/ 1941242 h 1941241"/>
                    <a:gd name="connsiteX28" fmla="*/ 71042 w 71041"/>
                    <a:gd name="connsiteY28" fmla="*/ 1941242 h 1941241"/>
                    <a:gd name="connsiteX29" fmla="*/ 71042 w 71041"/>
                    <a:gd name="connsiteY29" fmla="*/ 1869609 h 1941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1041" h="1941241">
                      <a:moveTo>
                        <a:pt x="71042" y="1798573"/>
                      </a:moveTo>
                      <a:lnTo>
                        <a:pt x="71042" y="1727538"/>
                      </a:lnTo>
                      <a:lnTo>
                        <a:pt x="71042" y="1655906"/>
                      </a:lnTo>
                      <a:lnTo>
                        <a:pt x="71042" y="1584870"/>
                      </a:lnTo>
                      <a:lnTo>
                        <a:pt x="71042" y="1513834"/>
                      </a:lnTo>
                      <a:lnTo>
                        <a:pt x="71042" y="1442202"/>
                      </a:lnTo>
                      <a:lnTo>
                        <a:pt x="71042" y="1371166"/>
                      </a:lnTo>
                      <a:lnTo>
                        <a:pt x="71042" y="1300130"/>
                      </a:lnTo>
                      <a:lnTo>
                        <a:pt x="71042" y="1228498"/>
                      </a:lnTo>
                      <a:lnTo>
                        <a:pt x="71042" y="213704"/>
                      </a:lnTo>
                      <a:lnTo>
                        <a:pt x="71042" y="142668"/>
                      </a:lnTo>
                      <a:lnTo>
                        <a:pt x="71042" y="71633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633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1228498"/>
                      </a:lnTo>
                      <a:lnTo>
                        <a:pt x="0" y="1300130"/>
                      </a:lnTo>
                      <a:lnTo>
                        <a:pt x="0" y="1371166"/>
                      </a:lnTo>
                      <a:lnTo>
                        <a:pt x="0" y="1442202"/>
                      </a:lnTo>
                      <a:lnTo>
                        <a:pt x="0" y="1513834"/>
                      </a:lnTo>
                      <a:lnTo>
                        <a:pt x="0" y="1584870"/>
                      </a:lnTo>
                      <a:lnTo>
                        <a:pt x="0" y="1655906"/>
                      </a:lnTo>
                      <a:lnTo>
                        <a:pt x="0" y="1727538"/>
                      </a:lnTo>
                      <a:lnTo>
                        <a:pt x="0" y="1798573"/>
                      </a:lnTo>
                      <a:lnTo>
                        <a:pt x="0" y="1869609"/>
                      </a:lnTo>
                      <a:lnTo>
                        <a:pt x="0" y="1941242"/>
                      </a:lnTo>
                      <a:lnTo>
                        <a:pt x="71042" y="1941242"/>
                      </a:lnTo>
                      <a:lnTo>
                        <a:pt x="71042" y="1869609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C192ACA0-BBF6-88BC-4673-B1F607CEB723}"/>
                    </a:ext>
                  </a:extLst>
                </p:cNvPr>
                <p:cNvSpPr/>
                <p:nvPr/>
              </p:nvSpPr>
              <p:spPr>
                <a:xfrm>
                  <a:off x="6406911" y="521501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A1B5EAA7-10FE-4194-1E96-F13602F75E71}"/>
                    </a:ext>
                  </a:extLst>
                </p:cNvPr>
                <p:cNvSpPr/>
                <p:nvPr/>
              </p:nvSpPr>
              <p:spPr>
                <a:xfrm>
                  <a:off x="6406911" y="5286050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F48A87D0-0B12-AB0A-4238-C44241E90215}"/>
                    </a:ext>
                  </a:extLst>
                </p:cNvPr>
                <p:cNvSpPr/>
                <p:nvPr/>
              </p:nvSpPr>
              <p:spPr>
                <a:xfrm>
                  <a:off x="6406911" y="5357086"/>
                  <a:ext cx="71041" cy="427407"/>
                </a:xfrm>
                <a:custGeom>
                  <a:avLst/>
                  <a:gdLst>
                    <a:gd name="connsiteX0" fmla="*/ 71042 w 71041"/>
                    <a:gd name="connsiteY0" fmla="*/ 285336 h 427407"/>
                    <a:gd name="connsiteX1" fmla="*/ 71042 w 71041"/>
                    <a:gd name="connsiteY1" fmla="*/ 213704 h 427407"/>
                    <a:gd name="connsiteX2" fmla="*/ 71042 w 71041"/>
                    <a:gd name="connsiteY2" fmla="*/ 142668 h 427407"/>
                    <a:gd name="connsiteX3" fmla="*/ 71042 w 71041"/>
                    <a:gd name="connsiteY3" fmla="*/ 71633 h 427407"/>
                    <a:gd name="connsiteX4" fmla="*/ 71042 w 71041"/>
                    <a:gd name="connsiteY4" fmla="*/ 0 h 427407"/>
                    <a:gd name="connsiteX5" fmla="*/ 0 w 71041"/>
                    <a:gd name="connsiteY5" fmla="*/ 0 h 427407"/>
                    <a:gd name="connsiteX6" fmla="*/ 0 w 71041"/>
                    <a:gd name="connsiteY6" fmla="*/ 71633 h 427407"/>
                    <a:gd name="connsiteX7" fmla="*/ 0 w 71041"/>
                    <a:gd name="connsiteY7" fmla="*/ 142668 h 427407"/>
                    <a:gd name="connsiteX8" fmla="*/ 0 w 71041"/>
                    <a:gd name="connsiteY8" fmla="*/ 213704 h 427407"/>
                    <a:gd name="connsiteX9" fmla="*/ 0 w 71041"/>
                    <a:gd name="connsiteY9" fmla="*/ 285336 h 427407"/>
                    <a:gd name="connsiteX10" fmla="*/ 0 w 71041"/>
                    <a:gd name="connsiteY10" fmla="*/ 356372 h 427407"/>
                    <a:gd name="connsiteX11" fmla="*/ 0 w 71041"/>
                    <a:gd name="connsiteY11" fmla="*/ 427407 h 427407"/>
                    <a:gd name="connsiteX12" fmla="*/ 71042 w 71041"/>
                    <a:gd name="connsiteY12" fmla="*/ 427407 h 427407"/>
                    <a:gd name="connsiteX13" fmla="*/ 71042 w 71041"/>
                    <a:gd name="connsiteY13" fmla="*/ 356372 h 427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1041" h="427407">
                      <a:moveTo>
                        <a:pt x="71042" y="285336"/>
                      </a:moveTo>
                      <a:lnTo>
                        <a:pt x="71042" y="213704"/>
                      </a:lnTo>
                      <a:lnTo>
                        <a:pt x="71042" y="142668"/>
                      </a:lnTo>
                      <a:lnTo>
                        <a:pt x="71042" y="71633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633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285336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71042" y="427407"/>
                      </a:lnTo>
                      <a:lnTo>
                        <a:pt x="71042" y="356372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40FB388C-A77C-115C-38EE-94B39C9D26F5}"/>
                    </a:ext>
                  </a:extLst>
                </p:cNvPr>
                <p:cNvSpPr/>
                <p:nvPr/>
              </p:nvSpPr>
              <p:spPr>
                <a:xfrm>
                  <a:off x="6477952" y="578449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367D177D-778B-3D9F-A49C-743DFAD7DCBB}"/>
                    </a:ext>
                  </a:extLst>
                </p:cNvPr>
                <p:cNvSpPr/>
                <p:nvPr/>
              </p:nvSpPr>
              <p:spPr>
                <a:xfrm>
                  <a:off x="6406911" y="2561626"/>
                  <a:ext cx="71041" cy="570075"/>
                </a:xfrm>
                <a:custGeom>
                  <a:avLst/>
                  <a:gdLst>
                    <a:gd name="connsiteX0" fmla="*/ 71042 w 71041"/>
                    <a:gd name="connsiteY0" fmla="*/ 427407 h 570075"/>
                    <a:gd name="connsiteX1" fmla="*/ 71042 w 71041"/>
                    <a:gd name="connsiteY1" fmla="*/ 356372 h 570075"/>
                    <a:gd name="connsiteX2" fmla="*/ 71042 w 71041"/>
                    <a:gd name="connsiteY2" fmla="*/ 284739 h 570075"/>
                    <a:gd name="connsiteX3" fmla="*/ 71042 w 71041"/>
                    <a:gd name="connsiteY3" fmla="*/ 213704 h 570075"/>
                    <a:gd name="connsiteX4" fmla="*/ 71042 w 71041"/>
                    <a:gd name="connsiteY4" fmla="*/ 142668 h 570075"/>
                    <a:gd name="connsiteX5" fmla="*/ 71042 w 71041"/>
                    <a:gd name="connsiteY5" fmla="*/ 71036 h 570075"/>
                    <a:gd name="connsiteX6" fmla="*/ 71042 w 71041"/>
                    <a:gd name="connsiteY6" fmla="*/ 0 h 570075"/>
                    <a:gd name="connsiteX7" fmla="*/ 0 w 71041"/>
                    <a:gd name="connsiteY7" fmla="*/ 0 h 570075"/>
                    <a:gd name="connsiteX8" fmla="*/ 0 w 71041"/>
                    <a:gd name="connsiteY8" fmla="*/ 71036 h 570075"/>
                    <a:gd name="connsiteX9" fmla="*/ 0 w 71041"/>
                    <a:gd name="connsiteY9" fmla="*/ 142668 h 570075"/>
                    <a:gd name="connsiteX10" fmla="*/ 0 w 71041"/>
                    <a:gd name="connsiteY10" fmla="*/ 213704 h 570075"/>
                    <a:gd name="connsiteX11" fmla="*/ 0 w 71041"/>
                    <a:gd name="connsiteY11" fmla="*/ 284739 h 570075"/>
                    <a:gd name="connsiteX12" fmla="*/ 0 w 71041"/>
                    <a:gd name="connsiteY12" fmla="*/ 356372 h 570075"/>
                    <a:gd name="connsiteX13" fmla="*/ 0 w 71041"/>
                    <a:gd name="connsiteY13" fmla="*/ 427407 h 570075"/>
                    <a:gd name="connsiteX14" fmla="*/ 0 w 71041"/>
                    <a:gd name="connsiteY14" fmla="*/ 498443 h 570075"/>
                    <a:gd name="connsiteX15" fmla="*/ 0 w 71041"/>
                    <a:gd name="connsiteY15" fmla="*/ 570076 h 570075"/>
                    <a:gd name="connsiteX16" fmla="*/ 71042 w 71041"/>
                    <a:gd name="connsiteY16" fmla="*/ 570076 h 570075"/>
                    <a:gd name="connsiteX17" fmla="*/ 71042 w 71041"/>
                    <a:gd name="connsiteY17" fmla="*/ 498443 h 570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1041" h="570075">
                      <a:moveTo>
                        <a:pt x="71042" y="427407"/>
                      </a:moveTo>
                      <a:lnTo>
                        <a:pt x="71042" y="356372"/>
                      </a:lnTo>
                      <a:lnTo>
                        <a:pt x="71042" y="284739"/>
                      </a:lnTo>
                      <a:lnTo>
                        <a:pt x="71042" y="213704"/>
                      </a:lnTo>
                      <a:lnTo>
                        <a:pt x="71042" y="142668"/>
                      </a:lnTo>
                      <a:lnTo>
                        <a:pt x="71042" y="71036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0" y="498443"/>
                      </a:lnTo>
                      <a:lnTo>
                        <a:pt x="0" y="570076"/>
                      </a:lnTo>
                      <a:lnTo>
                        <a:pt x="71042" y="570076"/>
                      </a:lnTo>
                      <a:lnTo>
                        <a:pt x="71042" y="498443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24696D01-1197-B613-2ACD-66F002B6C6BD}"/>
                    </a:ext>
                  </a:extLst>
                </p:cNvPr>
                <p:cNvSpPr/>
                <p:nvPr/>
              </p:nvSpPr>
              <p:spPr>
                <a:xfrm>
                  <a:off x="6406911" y="313170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253AC70D-D30B-AEC2-4990-132AE5E20F57}"/>
                    </a:ext>
                  </a:extLst>
                </p:cNvPr>
                <p:cNvSpPr/>
                <p:nvPr/>
              </p:nvSpPr>
              <p:spPr>
                <a:xfrm>
                  <a:off x="6406911" y="3202738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63F1E79E-2FCD-4839-469B-19A1E5B9647C}"/>
                    </a:ext>
                  </a:extLst>
                </p:cNvPr>
                <p:cNvSpPr/>
                <p:nvPr/>
              </p:nvSpPr>
              <p:spPr>
                <a:xfrm>
                  <a:off x="6549591" y="5856126"/>
                  <a:ext cx="712210" cy="71035"/>
                </a:xfrm>
                <a:custGeom>
                  <a:avLst/>
                  <a:gdLst>
                    <a:gd name="connsiteX0" fmla="*/ 569529 w 712210"/>
                    <a:gd name="connsiteY0" fmla="*/ 0 h 71035"/>
                    <a:gd name="connsiteX1" fmla="*/ 498487 w 712210"/>
                    <a:gd name="connsiteY1" fmla="*/ 0 h 71035"/>
                    <a:gd name="connsiteX2" fmla="*/ 427445 w 712210"/>
                    <a:gd name="connsiteY2" fmla="*/ 0 h 71035"/>
                    <a:gd name="connsiteX3" fmla="*/ 355807 w 712210"/>
                    <a:gd name="connsiteY3" fmla="*/ 0 h 71035"/>
                    <a:gd name="connsiteX4" fmla="*/ 284765 w 712210"/>
                    <a:gd name="connsiteY4" fmla="*/ 0 h 71035"/>
                    <a:gd name="connsiteX5" fmla="*/ 213723 w 712210"/>
                    <a:gd name="connsiteY5" fmla="*/ 0 h 71035"/>
                    <a:gd name="connsiteX6" fmla="*/ 142084 w 712210"/>
                    <a:gd name="connsiteY6" fmla="*/ 0 h 71035"/>
                    <a:gd name="connsiteX7" fmla="*/ 71042 w 712210"/>
                    <a:gd name="connsiteY7" fmla="*/ 0 h 71035"/>
                    <a:gd name="connsiteX8" fmla="*/ 0 w 712210"/>
                    <a:gd name="connsiteY8" fmla="*/ 0 h 71035"/>
                    <a:gd name="connsiteX9" fmla="*/ 0 w 712210"/>
                    <a:gd name="connsiteY9" fmla="*/ 71036 h 71035"/>
                    <a:gd name="connsiteX10" fmla="*/ 71042 w 712210"/>
                    <a:gd name="connsiteY10" fmla="*/ 71036 h 71035"/>
                    <a:gd name="connsiteX11" fmla="*/ 142084 w 712210"/>
                    <a:gd name="connsiteY11" fmla="*/ 71036 h 71035"/>
                    <a:gd name="connsiteX12" fmla="*/ 213723 w 712210"/>
                    <a:gd name="connsiteY12" fmla="*/ 71036 h 71035"/>
                    <a:gd name="connsiteX13" fmla="*/ 284765 w 712210"/>
                    <a:gd name="connsiteY13" fmla="*/ 71036 h 71035"/>
                    <a:gd name="connsiteX14" fmla="*/ 355807 w 712210"/>
                    <a:gd name="connsiteY14" fmla="*/ 71036 h 71035"/>
                    <a:gd name="connsiteX15" fmla="*/ 427445 w 712210"/>
                    <a:gd name="connsiteY15" fmla="*/ 71036 h 71035"/>
                    <a:gd name="connsiteX16" fmla="*/ 498487 w 712210"/>
                    <a:gd name="connsiteY16" fmla="*/ 71036 h 71035"/>
                    <a:gd name="connsiteX17" fmla="*/ 569529 w 712210"/>
                    <a:gd name="connsiteY17" fmla="*/ 71036 h 71035"/>
                    <a:gd name="connsiteX18" fmla="*/ 641168 w 712210"/>
                    <a:gd name="connsiteY18" fmla="*/ 71036 h 71035"/>
                    <a:gd name="connsiteX19" fmla="*/ 712210 w 712210"/>
                    <a:gd name="connsiteY19" fmla="*/ 71036 h 71035"/>
                    <a:gd name="connsiteX20" fmla="*/ 712210 w 712210"/>
                    <a:gd name="connsiteY20" fmla="*/ 0 h 71035"/>
                    <a:gd name="connsiteX21" fmla="*/ 641168 w 712210"/>
                    <a:gd name="connsiteY2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2210" h="71035">
                      <a:moveTo>
                        <a:pt x="569529" y="0"/>
                      </a:move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5807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084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5807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69529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2D921DEA-22C0-C117-27B3-530E4B07DF7A}"/>
                    </a:ext>
                  </a:extLst>
                </p:cNvPr>
                <p:cNvSpPr/>
                <p:nvPr/>
              </p:nvSpPr>
              <p:spPr>
                <a:xfrm>
                  <a:off x="7261801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414DB288-6648-4CF9-6046-17B85F525F15}"/>
                    </a:ext>
                  </a:extLst>
                </p:cNvPr>
                <p:cNvSpPr/>
                <p:nvPr/>
              </p:nvSpPr>
              <p:spPr>
                <a:xfrm>
                  <a:off x="7332843" y="5856126"/>
                  <a:ext cx="1068613" cy="71035"/>
                </a:xfrm>
                <a:custGeom>
                  <a:avLst/>
                  <a:gdLst>
                    <a:gd name="connsiteX0" fmla="*/ 926530 w 1068613"/>
                    <a:gd name="connsiteY0" fmla="*/ 0 h 71035"/>
                    <a:gd name="connsiteX1" fmla="*/ 854891 w 1068613"/>
                    <a:gd name="connsiteY1" fmla="*/ 0 h 71035"/>
                    <a:gd name="connsiteX2" fmla="*/ 783849 w 1068613"/>
                    <a:gd name="connsiteY2" fmla="*/ 0 h 71035"/>
                    <a:gd name="connsiteX3" fmla="*/ 712807 w 1068613"/>
                    <a:gd name="connsiteY3" fmla="*/ 0 h 71035"/>
                    <a:gd name="connsiteX4" fmla="*/ 641168 w 1068613"/>
                    <a:gd name="connsiteY4" fmla="*/ 0 h 71035"/>
                    <a:gd name="connsiteX5" fmla="*/ 570126 w 1068613"/>
                    <a:gd name="connsiteY5" fmla="*/ 0 h 71035"/>
                    <a:gd name="connsiteX6" fmla="*/ 499084 w 1068613"/>
                    <a:gd name="connsiteY6" fmla="*/ 0 h 71035"/>
                    <a:gd name="connsiteX7" fmla="*/ 427445 w 1068613"/>
                    <a:gd name="connsiteY7" fmla="*/ 0 h 71035"/>
                    <a:gd name="connsiteX8" fmla="*/ 356404 w 1068613"/>
                    <a:gd name="connsiteY8" fmla="*/ 0 h 71035"/>
                    <a:gd name="connsiteX9" fmla="*/ 285362 w 1068613"/>
                    <a:gd name="connsiteY9" fmla="*/ 0 h 71035"/>
                    <a:gd name="connsiteX10" fmla="*/ 213723 w 1068613"/>
                    <a:gd name="connsiteY10" fmla="*/ 0 h 71035"/>
                    <a:gd name="connsiteX11" fmla="*/ 142681 w 1068613"/>
                    <a:gd name="connsiteY11" fmla="*/ 0 h 71035"/>
                    <a:gd name="connsiteX12" fmla="*/ 71639 w 1068613"/>
                    <a:gd name="connsiteY12" fmla="*/ 0 h 71035"/>
                    <a:gd name="connsiteX13" fmla="*/ 0 w 1068613"/>
                    <a:gd name="connsiteY13" fmla="*/ 0 h 71035"/>
                    <a:gd name="connsiteX14" fmla="*/ 0 w 1068613"/>
                    <a:gd name="connsiteY14" fmla="*/ 71036 h 71035"/>
                    <a:gd name="connsiteX15" fmla="*/ 71639 w 1068613"/>
                    <a:gd name="connsiteY15" fmla="*/ 71036 h 71035"/>
                    <a:gd name="connsiteX16" fmla="*/ 142681 w 1068613"/>
                    <a:gd name="connsiteY16" fmla="*/ 71036 h 71035"/>
                    <a:gd name="connsiteX17" fmla="*/ 213723 w 1068613"/>
                    <a:gd name="connsiteY17" fmla="*/ 71036 h 71035"/>
                    <a:gd name="connsiteX18" fmla="*/ 285362 w 1068613"/>
                    <a:gd name="connsiteY18" fmla="*/ 71036 h 71035"/>
                    <a:gd name="connsiteX19" fmla="*/ 356404 w 1068613"/>
                    <a:gd name="connsiteY19" fmla="*/ 71036 h 71035"/>
                    <a:gd name="connsiteX20" fmla="*/ 427445 w 1068613"/>
                    <a:gd name="connsiteY20" fmla="*/ 71036 h 71035"/>
                    <a:gd name="connsiteX21" fmla="*/ 499084 w 1068613"/>
                    <a:gd name="connsiteY21" fmla="*/ 71036 h 71035"/>
                    <a:gd name="connsiteX22" fmla="*/ 570126 w 1068613"/>
                    <a:gd name="connsiteY22" fmla="*/ 71036 h 71035"/>
                    <a:gd name="connsiteX23" fmla="*/ 641168 w 1068613"/>
                    <a:gd name="connsiteY23" fmla="*/ 71036 h 71035"/>
                    <a:gd name="connsiteX24" fmla="*/ 712807 w 1068613"/>
                    <a:gd name="connsiteY24" fmla="*/ 71036 h 71035"/>
                    <a:gd name="connsiteX25" fmla="*/ 783849 w 1068613"/>
                    <a:gd name="connsiteY25" fmla="*/ 71036 h 71035"/>
                    <a:gd name="connsiteX26" fmla="*/ 854891 w 1068613"/>
                    <a:gd name="connsiteY26" fmla="*/ 71036 h 71035"/>
                    <a:gd name="connsiteX27" fmla="*/ 926530 w 1068613"/>
                    <a:gd name="connsiteY27" fmla="*/ 71036 h 71035"/>
                    <a:gd name="connsiteX28" fmla="*/ 997572 w 1068613"/>
                    <a:gd name="connsiteY28" fmla="*/ 71036 h 71035"/>
                    <a:gd name="connsiteX29" fmla="*/ 1068614 w 1068613"/>
                    <a:gd name="connsiteY29" fmla="*/ 71036 h 71035"/>
                    <a:gd name="connsiteX30" fmla="*/ 1068614 w 1068613"/>
                    <a:gd name="connsiteY30" fmla="*/ 0 h 71035"/>
                    <a:gd name="connsiteX31" fmla="*/ 997572 w 1068613"/>
                    <a:gd name="connsiteY3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068613" h="71035">
                      <a:moveTo>
                        <a:pt x="926530" y="0"/>
                      </a:moveTo>
                      <a:lnTo>
                        <a:pt x="854891" y="0"/>
                      </a:lnTo>
                      <a:lnTo>
                        <a:pt x="783849" y="0"/>
                      </a:lnTo>
                      <a:lnTo>
                        <a:pt x="712807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6530" y="71036"/>
                      </a:lnTo>
                      <a:lnTo>
                        <a:pt x="997572" y="71036"/>
                      </a:lnTo>
                      <a:lnTo>
                        <a:pt x="1068614" y="71036"/>
                      </a:lnTo>
                      <a:lnTo>
                        <a:pt x="1068614" y="0"/>
                      </a:lnTo>
                      <a:lnTo>
                        <a:pt x="997572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403F94B8-70A2-2EDB-385A-21C88039E677}"/>
                    </a:ext>
                  </a:extLst>
                </p:cNvPr>
                <p:cNvSpPr/>
                <p:nvPr/>
              </p:nvSpPr>
              <p:spPr>
                <a:xfrm>
                  <a:off x="8401457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0D283015-26E2-352C-AC9F-D902CBA3102B}"/>
                    </a:ext>
                  </a:extLst>
                </p:cNvPr>
                <p:cNvSpPr/>
                <p:nvPr/>
              </p:nvSpPr>
              <p:spPr>
                <a:xfrm>
                  <a:off x="8473096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A2010846-626C-58B1-2518-E4705EC0941D}"/>
                    </a:ext>
                  </a:extLst>
                </p:cNvPr>
                <p:cNvSpPr/>
                <p:nvPr/>
              </p:nvSpPr>
              <p:spPr>
                <a:xfrm>
                  <a:off x="8544138" y="5856126"/>
                  <a:ext cx="997571" cy="71035"/>
                </a:xfrm>
                <a:custGeom>
                  <a:avLst/>
                  <a:gdLst>
                    <a:gd name="connsiteX0" fmla="*/ 854891 w 997571"/>
                    <a:gd name="connsiteY0" fmla="*/ 0 h 71035"/>
                    <a:gd name="connsiteX1" fmla="*/ 783849 w 997571"/>
                    <a:gd name="connsiteY1" fmla="*/ 0 h 71035"/>
                    <a:gd name="connsiteX2" fmla="*/ 712210 w 997571"/>
                    <a:gd name="connsiteY2" fmla="*/ 0 h 71035"/>
                    <a:gd name="connsiteX3" fmla="*/ 641168 w 997571"/>
                    <a:gd name="connsiteY3" fmla="*/ 0 h 71035"/>
                    <a:gd name="connsiteX4" fmla="*/ 570126 w 997571"/>
                    <a:gd name="connsiteY4" fmla="*/ 0 h 71035"/>
                    <a:gd name="connsiteX5" fmla="*/ 498487 w 997571"/>
                    <a:gd name="connsiteY5" fmla="*/ 0 h 71035"/>
                    <a:gd name="connsiteX6" fmla="*/ 427445 w 997571"/>
                    <a:gd name="connsiteY6" fmla="*/ 0 h 71035"/>
                    <a:gd name="connsiteX7" fmla="*/ 356404 w 997571"/>
                    <a:gd name="connsiteY7" fmla="*/ 0 h 71035"/>
                    <a:gd name="connsiteX8" fmla="*/ 284765 w 997571"/>
                    <a:gd name="connsiteY8" fmla="*/ 0 h 71035"/>
                    <a:gd name="connsiteX9" fmla="*/ 213723 w 997571"/>
                    <a:gd name="connsiteY9" fmla="*/ 0 h 71035"/>
                    <a:gd name="connsiteX10" fmla="*/ 142681 w 997571"/>
                    <a:gd name="connsiteY10" fmla="*/ 0 h 71035"/>
                    <a:gd name="connsiteX11" fmla="*/ 71042 w 997571"/>
                    <a:gd name="connsiteY11" fmla="*/ 0 h 71035"/>
                    <a:gd name="connsiteX12" fmla="*/ 0 w 997571"/>
                    <a:gd name="connsiteY12" fmla="*/ 0 h 71035"/>
                    <a:gd name="connsiteX13" fmla="*/ 0 w 997571"/>
                    <a:gd name="connsiteY13" fmla="*/ 71036 h 71035"/>
                    <a:gd name="connsiteX14" fmla="*/ 71042 w 997571"/>
                    <a:gd name="connsiteY14" fmla="*/ 71036 h 71035"/>
                    <a:gd name="connsiteX15" fmla="*/ 142681 w 997571"/>
                    <a:gd name="connsiteY15" fmla="*/ 71036 h 71035"/>
                    <a:gd name="connsiteX16" fmla="*/ 213723 w 997571"/>
                    <a:gd name="connsiteY16" fmla="*/ 71036 h 71035"/>
                    <a:gd name="connsiteX17" fmla="*/ 284765 w 997571"/>
                    <a:gd name="connsiteY17" fmla="*/ 71036 h 71035"/>
                    <a:gd name="connsiteX18" fmla="*/ 356404 w 997571"/>
                    <a:gd name="connsiteY18" fmla="*/ 71036 h 71035"/>
                    <a:gd name="connsiteX19" fmla="*/ 427445 w 997571"/>
                    <a:gd name="connsiteY19" fmla="*/ 71036 h 71035"/>
                    <a:gd name="connsiteX20" fmla="*/ 498487 w 997571"/>
                    <a:gd name="connsiteY20" fmla="*/ 71036 h 71035"/>
                    <a:gd name="connsiteX21" fmla="*/ 570126 w 997571"/>
                    <a:gd name="connsiteY21" fmla="*/ 71036 h 71035"/>
                    <a:gd name="connsiteX22" fmla="*/ 641168 w 997571"/>
                    <a:gd name="connsiteY22" fmla="*/ 71036 h 71035"/>
                    <a:gd name="connsiteX23" fmla="*/ 712210 w 997571"/>
                    <a:gd name="connsiteY23" fmla="*/ 71036 h 71035"/>
                    <a:gd name="connsiteX24" fmla="*/ 783849 w 997571"/>
                    <a:gd name="connsiteY24" fmla="*/ 71036 h 71035"/>
                    <a:gd name="connsiteX25" fmla="*/ 854891 w 997571"/>
                    <a:gd name="connsiteY25" fmla="*/ 71036 h 71035"/>
                    <a:gd name="connsiteX26" fmla="*/ 925933 w 997571"/>
                    <a:gd name="connsiteY26" fmla="*/ 71036 h 71035"/>
                    <a:gd name="connsiteX27" fmla="*/ 997572 w 997571"/>
                    <a:gd name="connsiteY27" fmla="*/ 71036 h 71035"/>
                    <a:gd name="connsiteX28" fmla="*/ 997572 w 997571"/>
                    <a:gd name="connsiteY28" fmla="*/ 0 h 71035"/>
                    <a:gd name="connsiteX29" fmla="*/ 925933 w 997571"/>
                    <a:gd name="connsiteY29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997571" h="71035">
                      <a:moveTo>
                        <a:pt x="854891" y="0"/>
                      </a:moveTo>
                      <a:lnTo>
                        <a:pt x="783849" y="0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5933" y="71036"/>
                      </a:lnTo>
                      <a:lnTo>
                        <a:pt x="997572" y="71036"/>
                      </a:lnTo>
                      <a:lnTo>
                        <a:pt x="997572" y="0"/>
                      </a:lnTo>
                      <a:lnTo>
                        <a:pt x="925933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89" name="Freeform 88">
                  <a:extLst>
                    <a:ext uri="{FF2B5EF4-FFF2-40B4-BE49-F238E27FC236}">
                      <a16:creationId xmlns:a16="http://schemas.microsoft.com/office/drawing/2014/main" id="{1963D83D-048F-38B7-16E4-5DBD347FB37F}"/>
                    </a:ext>
                  </a:extLst>
                </p:cNvPr>
                <p:cNvSpPr/>
                <p:nvPr/>
              </p:nvSpPr>
              <p:spPr>
                <a:xfrm>
                  <a:off x="9541709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0" name="Freeform 89">
                  <a:extLst>
                    <a:ext uri="{FF2B5EF4-FFF2-40B4-BE49-F238E27FC236}">
                      <a16:creationId xmlns:a16="http://schemas.microsoft.com/office/drawing/2014/main" id="{2604F3DE-5697-5FB0-8633-68E79AEED1C0}"/>
                    </a:ext>
                  </a:extLst>
                </p:cNvPr>
                <p:cNvSpPr/>
                <p:nvPr/>
              </p:nvSpPr>
              <p:spPr>
                <a:xfrm>
                  <a:off x="9612751" y="5856126"/>
                  <a:ext cx="854890" cy="71035"/>
                </a:xfrm>
                <a:custGeom>
                  <a:avLst/>
                  <a:gdLst>
                    <a:gd name="connsiteX0" fmla="*/ 712807 w 854890"/>
                    <a:gd name="connsiteY0" fmla="*/ 0 h 71035"/>
                    <a:gd name="connsiteX1" fmla="*/ 641168 w 854890"/>
                    <a:gd name="connsiteY1" fmla="*/ 0 h 71035"/>
                    <a:gd name="connsiteX2" fmla="*/ 570126 w 854890"/>
                    <a:gd name="connsiteY2" fmla="*/ 0 h 71035"/>
                    <a:gd name="connsiteX3" fmla="*/ 499084 w 854890"/>
                    <a:gd name="connsiteY3" fmla="*/ 0 h 71035"/>
                    <a:gd name="connsiteX4" fmla="*/ 427445 w 854890"/>
                    <a:gd name="connsiteY4" fmla="*/ 0 h 71035"/>
                    <a:gd name="connsiteX5" fmla="*/ 356404 w 854890"/>
                    <a:gd name="connsiteY5" fmla="*/ 0 h 71035"/>
                    <a:gd name="connsiteX6" fmla="*/ 285362 w 854890"/>
                    <a:gd name="connsiteY6" fmla="*/ 0 h 71035"/>
                    <a:gd name="connsiteX7" fmla="*/ 213723 w 854890"/>
                    <a:gd name="connsiteY7" fmla="*/ 0 h 71035"/>
                    <a:gd name="connsiteX8" fmla="*/ 142681 w 854890"/>
                    <a:gd name="connsiteY8" fmla="*/ 0 h 71035"/>
                    <a:gd name="connsiteX9" fmla="*/ 71639 w 854890"/>
                    <a:gd name="connsiteY9" fmla="*/ 0 h 71035"/>
                    <a:gd name="connsiteX10" fmla="*/ 0 w 854890"/>
                    <a:gd name="connsiteY10" fmla="*/ 0 h 71035"/>
                    <a:gd name="connsiteX11" fmla="*/ 0 w 854890"/>
                    <a:gd name="connsiteY11" fmla="*/ 71036 h 71035"/>
                    <a:gd name="connsiteX12" fmla="*/ 71639 w 854890"/>
                    <a:gd name="connsiteY12" fmla="*/ 71036 h 71035"/>
                    <a:gd name="connsiteX13" fmla="*/ 142681 w 854890"/>
                    <a:gd name="connsiteY13" fmla="*/ 71036 h 71035"/>
                    <a:gd name="connsiteX14" fmla="*/ 213723 w 854890"/>
                    <a:gd name="connsiteY14" fmla="*/ 71036 h 71035"/>
                    <a:gd name="connsiteX15" fmla="*/ 285362 w 854890"/>
                    <a:gd name="connsiteY15" fmla="*/ 71036 h 71035"/>
                    <a:gd name="connsiteX16" fmla="*/ 356404 w 854890"/>
                    <a:gd name="connsiteY16" fmla="*/ 71036 h 71035"/>
                    <a:gd name="connsiteX17" fmla="*/ 427445 w 854890"/>
                    <a:gd name="connsiteY17" fmla="*/ 71036 h 71035"/>
                    <a:gd name="connsiteX18" fmla="*/ 499084 w 854890"/>
                    <a:gd name="connsiteY18" fmla="*/ 71036 h 71035"/>
                    <a:gd name="connsiteX19" fmla="*/ 570126 w 854890"/>
                    <a:gd name="connsiteY19" fmla="*/ 71036 h 71035"/>
                    <a:gd name="connsiteX20" fmla="*/ 641168 w 854890"/>
                    <a:gd name="connsiteY20" fmla="*/ 71036 h 71035"/>
                    <a:gd name="connsiteX21" fmla="*/ 712807 w 854890"/>
                    <a:gd name="connsiteY21" fmla="*/ 71036 h 71035"/>
                    <a:gd name="connsiteX22" fmla="*/ 783849 w 854890"/>
                    <a:gd name="connsiteY22" fmla="*/ 71036 h 71035"/>
                    <a:gd name="connsiteX23" fmla="*/ 854891 w 854890"/>
                    <a:gd name="connsiteY23" fmla="*/ 71036 h 71035"/>
                    <a:gd name="connsiteX24" fmla="*/ 854891 w 854890"/>
                    <a:gd name="connsiteY24" fmla="*/ 0 h 71035"/>
                    <a:gd name="connsiteX25" fmla="*/ 783849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12807" y="0"/>
                      </a:move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lnTo>
                        <a:pt x="78384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1" name="Freeform 90">
                  <a:extLst>
                    <a:ext uri="{FF2B5EF4-FFF2-40B4-BE49-F238E27FC236}">
                      <a16:creationId xmlns:a16="http://schemas.microsoft.com/office/drawing/2014/main" id="{C6A720BE-831A-494C-0944-E11502908055}"/>
                    </a:ext>
                  </a:extLst>
                </p:cNvPr>
                <p:cNvSpPr/>
                <p:nvPr/>
              </p:nvSpPr>
              <p:spPr>
                <a:xfrm>
                  <a:off x="10467642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2" name="Freeform 91">
                  <a:extLst>
                    <a:ext uri="{FF2B5EF4-FFF2-40B4-BE49-F238E27FC236}">
                      <a16:creationId xmlns:a16="http://schemas.microsoft.com/office/drawing/2014/main" id="{3AAB068A-4479-6789-A30F-A53AE8F277E1}"/>
                    </a:ext>
                  </a:extLst>
                </p:cNvPr>
                <p:cNvSpPr/>
                <p:nvPr/>
              </p:nvSpPr>
              <p:spPr>
                <a:xfrm>
                  <a:off x="10539281" y="585612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3" name="Freeform 92">
                  <a:extLst>
                    <a:ext uri="{FF2B5EF4-FFF2-40B4-BE49-F238E27FC236}">
                      <a16:creationId xmlns:a16="http://schemas.microsoft.com/office/drawing/2014/main" id="{A143A751-350F-F90A-CC20-54B2BDDB88BC}"/>
                    </a:ext>
                  </a:extLst>
                </p:cNvPr>
                <p:cNvSpPr/>
                <p:nvPr/>
              </p:nvSpPr>
              <p:spPr>
                <a:xfrm>
                  <a:off x="10610323" y="5856126"/>
                  <a:ext cx="854890" cy="71035"/>
                </a:xfrm>
                <a:custGeom>
                  <a:avLst/>
                  <a:gdLst>
                    <a:gd name="connsiteX0" fmla="*/ 712210 w 854890"/>
                    <a:gd name="connsiteY0" fmla="*/ 0 h 71035"/>
                    <a:gd name="connsiteX1" fmla="*/ 641168 w 854890"/>
                    <a:gd name="connsiteY1" fmla="*/ 0 h 71035"/>
                    <a:gd name="connsiteX2" fmla="*/ 570126 w 854890"/>
                    <a:gd name="connsiteY2" fmla="*/ 0 h 71035"/>
                    <a:gd name="connsiteX3" fmla="*/ 498487 w 854890"/>
                    <a:gd name="connsiteY3" fmla="*/ 0 h 71035"/>
                    <a:gd name="connsiteX4" fmla="*/ 427446 w 854890"/>
                    <a:gd name="connsiteY4" fmla="*/ 0 h 71035"/>
                    <a:gd name="connsiteX5" fmla="*/ 356404 w 854890"/>
                    <a:gd name="connsiteY5" fmla="*/ 0 h 71035"/>
                    <a:gd name="connsiteX6" fmla="*/ 284765 w 854890"/>
                    <a:gd name="connsiteY6" fmla="*/ 0 h 71035"/>
                    <a:gd name="connsiteX7" fmla="*/ 213723 w 854890"/>
                    <a:gd name="connsiteY7" fmla="*/ 0 h 71035"/>
                    <a:gd name="connsiteX8" fmla="*/ 142681 w 854890"/>
                    <a:gd name="connsiteY8" fmla="*/ 0 h 71035"/>
                    <a:gd name="connsiteX9" fmla="*/ 71042 w 854890"/>
                    <a:gd name="connsiteY9" fmla="*/ 0 h 71035"/>
                    <a:gd name="connsiteX10" fmla="*/ 0 w 854890"/>
                    <a:gd name="connsiteY10" fmla="*/ 0 h 71035"/>
                    <a:gd name="connsiteX11" fmla="*/ 0 w 854890"/>
                    <a:gd name="connsiteY11" fmla="*/ 71036 h 71035"/>
                    <a:gd name="connsiteX12" fmla="*/ 71042 w 854890"/>
                    <a:gd name="connsiteY12" fmla="*/ 71036 h 71035"/>
                    <a:gd name="connsiteX13" fmla="*/ 142681 w 854890"/>
                    <a:gd name="connsiteY13" fmla="*/ 71036 h 71035"/>
                    <a:gd name="connsiteX14" fmla="*/ 213723 w 854890"/>
                    <a:gd name="connsiteY14" fmla="*/ 71036 h 71035"/>
                    <a:gd name="connsiteX15" fmla="*/ 284765 w 854890"/>
                    <a:gd name="connsiteY15" fmla="*/ 71036 h 71035"/>
                    <a:gd name="connsiteX16" fmla="*/ 356404 w 854890"/>
                    <a:gd name="connsiteY16" fmla="*/ 71036 h 71035"/>
                    <a:gd name="connsiteX17" fmla="*/ 427446 w 854890"/>
                    <a:gd name="connsiteY17" fmla="*/ 71036 h 71035"/>
                    <a:gd name="connsiteX18" fmla="*/ 498487 w 854890"/>
                    <a:gd name="connsiteY18" fmla="*/ 71036 h 71035"/>
                    <a:gd name="connsiteX19" fmla="*/ 570126 w 854890"/>
                    <a:gd name="connsiteY19" fmla="*/ 71036 h 71035"/>
                    <a:gd name="connsiteX20" fmla="*/ 641168 w 854890"/>
                    <a:gd name="connsiteY20" fmla="*/ 71036 h 71035"/>
                    <a:gd name="connsiteX21" fmla="*/ 712210 w 854890"/>
                    <a:gd name="connsiteY21" fmla="*/ 71036 h 71035"/>
                    <a:gd name="connsiteX22" fmla="*/ 783849 w 854890"/>
                    <a:gd name="connsiteY22" fmla="*/ 71036 h 71035"/>
                    <a:gd name="connsiteX23" fmla="*/ 854891 w 854890"/>
                    <a:gd name="connsiteY23" fmla="*/ 71036 h 71035"/>
                    <a:gd name="connsiteX24" fmla="*/ 854891 w 854890"/>
                    <a:gd name="connsiteY24" fmla="*/ 0 h 71035"/>
                    <a:gd name="connsiteX25" fmla="*/ 783849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12210" y="0"/>
                      </a:move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6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6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lnTo>
                        <a:pt x="78384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4" name="Freeform 93">
                  <a:extLst>
                    <a:ext uri="{FF2B5EF4-FFF2-40B4-BE49-F238E27FC236}">
                      <a16:creationId xmlns:a16="http://schemas.microsoft.com/office/drawing/2014/main" id="{A62F6DCC-21A1-2BC3-01DB-E3451428C1A0}"/>
                    </a:ext>
                  </a:extLst>
                </p:cNvPr>
                <p:cNvSpPr/>
                <p:nvPr/>
              </p:nvSpPr>
              <p:spPr>
                <a:xfrm>
                  <a:off x="11465214" y="578449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4DB6A044-33DB-98D2-9D40-8CC3533D39F4}"/>
                    </a:ext>
                  </a:extLst>
                </p:cNvPr>
                <p:cNvSpPr/>
                <p:nvPr/>
              </p:nvSpPr>
              <p:spPr>
                <a:xfrm>
                  <a:off x="11536256" y="5357086"/>
                  <a:ext cx="71638" cy="427407"/>
                </a:xfrm>
                <a:custGeom>
                  <a:avLst/>
                  <a:gdLst>
                    <a:gd name="connsiteX0" fmla="*/ 0 w 71638"/>
                    <a:gd name="connsiteY0" fmla="*/ 142668 h 427407"/>
                    <a:gd name="connsiteX1" fmla="*/ 0 w 71638"/>
                    <a:gd name="connsiteY1" fmla="*/ 213704 h 427407"/>
                    <a:gd name="connsiteX2" fmla="*/ 0 w 71638"/>
                    <a:gd name="connsiteY2" fmla="*/ 285336 h 427407"/>
                    <a:gd name="connsiteX3" fmla="*/ 0 w 71638"/>
                    <a:gd name="connsiteY3" fmla="*/ 356372 h 427407"/>
                    <a:gd name="connsiteX4" fmla="*/ 0 w 71638"/>
                    <a:gd name="connsiteY4" fmla="*/ 427407 h 427407"/>
                    <a:gd name="connsiteX5" fmla="*/ 71639 w 71638"/>
                    <a:gd name="connsiteY5" fmla="*/ 427407 h 427407"/>
                    <a:gd name="connsiteX6" fmla="*/ 71639 w 71638"/>
                    <a:gd name="connsiteY6" fmla="*/ 356372 h 427407"/>
                    <a:gd name="connsiteX7" fmla="*/ 71639 w 71638"/>
                    <a:gd name="connsiteY7" fmla="*/ 356372 h 427407"/>
                    <a:gd name="connsiteX8" fmla="*/ 71639 w 71638"/>
                    <a:gd name="connsiteY8" fmla="*/ 285336 h 427407"/>
                    <a:gd name="connsiteX9" fmla="*/ 71639 w 71638"/>
                    <a:gd name="connsiteY9" fmla="*/ 285336 h 427407"/>
                    <a:gd name="connsiteX10" fmla="*/ 71639 w 71638"/>
                    <a:gd name="connsiteY10" fmla="*/ 213704 h 427407"/>
                    <a:gd name="connsiteX11" fmla="*/ 71639 w 71638"/>
                    <a:gd name="connsiteY11" fmla="*/ 213704 h 427407"/>
                    <a:gd name="connsiteX12" fmla="*/ 71639 w 71638"/>
                    <a:gd name="connsiteY12" fmla="*/ 142668 h 427407"/>
                    <a:gd name="connsiteX13" fmla="*/ 71639 w 71638"/>
                    <a:gd name="connsiteY13" fmla="*/ 142668 h 427407"/>
                    <a:gd name="connsiteX14" fmla="*/ 71639 w 71638"/>
                    <a:gd name="connsiteY14" fmla="*/ 71633 h 427407"/>
                    <a:gd name="connsiteX15" fmla="*/ 71639 w 71638"/>
                    <a:gd name="connsiteY15" fmla="*/ 71633 h 427407"/>
                    <a:gd name="connsiteX16" fmla="*/ 71639 w 71638"/>
                    <a:gd name="connsiteY16" fmla="*/ 0 h 427407"/>
                    <a:gd name="connsiteX17" fmla="*/ 0 w 71638"/>
                    <a:gd name="connsiteY17" fmla="*/ 0 h 427407"/>
                    <a:gd name="connsiteX18" fmla="*/ 0 w 71638"/>
                    <a:gd name="connsiteY18" fmla="*/ 71633 h 427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1638" h="427407">
                      <a:moveTo>
                        <a:pt x="0" y="142668"/>
                      </a:moveTo>
                      <a:lnTo>
                        <a:pt x="0" y="213704"/>
                      </a:lnTo>
                      <a:lnTo>
                        <a:pt x="0" y="285336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71639" y="427407"/>
                      </a:lnTo>
                      <a:lnTo>
                        <a:pt x="71639" y="356372"/>
                      </a:lnTo>
                      <a:lnTo>
                        <a:pt x="71639" y="356372"/>
                      </a:lnTo>
                      <a:lnTo>
                        <a:pt x="71639" y="285336"/>
                      </a:lnTo>
                      <a:lnTo>
                        <a:pt x="71639" y="285336"/>
                      </a:lnTo>
                      <a:lnTo>
                        <a:pt x="71639" y="213704"/>
                      </a:lnTo>
                      <a:lnTo>
                        <a:pt x="71639" y="213704"/>
                      </a:lnTo>
                      <a:lnTo>
                        <a:pt x="71639" y="142668"/>
                      </a:lnTo>
                      <a:lnTo>
                        <a:pt x="71639" y="142668"/>
                      </a:lnTo>
                      <a:lnTo>
                        <a:pt x="71639" y="71633"/>
                      </a:lnTo>
                      <a:lnTo>
                        <a:pt x="71639" y="71633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633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841EF1F8-734E-6627-512A-4E5D4A2D0AF7}"/>
                    </a:ext>
                  </a:extLst>
                </p:cNvPr>
                <p:cNvSpPr/>
                <p:nvPr/>
              </p:nvSpPr>
              <p:spPr>
                <a:xfrm>
                  <a:off x="11536256" y="5286050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438AF348-84DE-2E5F-E799-2F81A949AB45}"/>
                    </a:ext>
                  </a:extLst>
                </p:cNvPr>
                <p:cNvSpPr/>
                <p:nvPr/>
              </p:nvSpPr>
              <p:spPr>
                <a:xfrm>
                  <a:off x="11536256" y="5215015"/>
                  <a:ext cx="71638" cy="71035"/>
                </a:xfrm>
                <a:custGeom>
                  <a:avLst/>
                  <a:gdLst>
                    <a:gd name="connsiteX0" fmla="*/ 0 w 71638"/>
                    <a:gd name="connsiteY0" fmla="*/ 71035 h 71035"/>
                    <a:gd name="connsiteX1" fmla="*/ 71639 w 71638"/>
                    <a:gd name="connsiteY1" fmla="*/ 71035 h 71035"/>
                    <a:gd name="connsiteX2" fmla="*/ 71639 w 71638"/>
                    <a:gd name="connsiteY2" fmla="*/ 0 h 71035"/>
                    <a:gd name="connsiteX3" fmla="*/ 71639 w 71638"/>
                    <a:gd name="connsiteY3" fmla="*/ 0 h 71035"/>
                    <a:gd name="connsiteX4" fmla="*/ 0 w 71638"/>
                    <a:gd name="connsiteY4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638" h="71035">
                      <a:moveTo>
                        <a:pt x="0" y="71035"/>
                      </a:moveTo>
                      <a:lnTo>
                        <a:pt x="71639" y="71035"/>
                      </a:lnTo>
                      <a:lnTo>
                        <a:pt x="71639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8" name="Freeform 97">
                  <a:extLst>
                    <a:ext uri="{FF2B5EF4-FFF2-40B4-BE49-F238E27FC236}">
                      <a16:creationId xmlns:a16="http://schemas.microsoft.com/office/drawing/2014/main" id="{5FE3AA85-1F4C-F2A7-A771-4E540530AF13}"/>
                    </a:ext>
                  </a:extLst>
                </p:cNvPr>
                <p:cNvSpPr/>
                <p:nvPr/>
              </p:nvSpPr>
              <p:spPr>
                <a:xfrm>
                  <a:off x="11536256" y="2989034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B8BAC509-B02B-60DD-5763-EFF1C6E4F3FD}"/>
                    </a:ext>
                  </a:extLst>
                </p:cNvPr>
                <p:cNvSpPr/>
                <p:nvPr/>
              </p:nvSpPr>
              <p:spPr>
                <a:xfrm>
                  <a:off x="11536256" y="3060069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A85D2CCB-9979-4DD2-5020-12D5BA7BB2D0}"/>
                    </a:ext>
                  </a:extLst>
                </p:cNvPr>
                <p:cNvSpPr/>
                <p:nvPr/>
              </p:nvSpPr>
              <p:spPr>
                <a:xfrm>
                  <a:off x="11536256" y="313170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8EAED09F-2E4C-3772-1AD4-5D0D7BCA59E7}"/>
                    </a:ext>
                  </a:extLst>
                </p:cNvPr>
                <p:cNvSpPr/>
                <p:nvPr/>
              </p:nvSpPr>
              <p:spPr>
                <a:xfrm>
                  <a:off x="11536256" y="3202738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2" name="Freeform 101">
                  <a:extLst>
                    <a:ext uri="{FF2B5EF4-FFF2-40B4-BE49-F238E27FC236}">
                      <a16:creationId xmlns:a16="http://schemas.microsoft.com/office/drawing/2014/main" id="{119E4448-D92E-EE93-AAAA-7AD97D5F3CEA}"/>
                    </a:ext>
                  </a:extLst>
                </p:cNvPr>
                <p:cNvSpPr/>
                <p:nvPr/>
              </p:nvSpPr>
              <p:spPr>
                <a:xfrm>
                  <a:off x="11536256" y="327377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3" name="Freeform 102">
                  <a:extLst>
                    <a:ext uri="{FF2B5EF4-FFF2-40B4-BE49-F238E27FC236}">
                      <a16:creationId xmlns:a16="http://schemas.microsoft.com/office/drawing/2014/main" id="{92D98A49-7378-888F-F200-72347351827E}"/>
                    </a:ext>
                  </a:extLst>
                </p:cNvPr>
                <p:cNvSpPr/>
                <p:nvPr/>
              </p:nvSpPr>
              <p:spPr>
                <a:xfrm>
                  <a:off x="11536256" y="3345406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4" name="Freeform 103">
                  <a:extLst>
                    <a:ext uri="{FF2B5EF4-FFF2-40B4-BE49-F238E27FC236}">
                      <a16:creationId xmlns:a16="http://schemas.microsoft.com/office/drawing/2014/main" id="{F10CFDA8-E974-6005-42D3-907640E17C93}"/>
                    </a:ext>
                  </a:extLst>
                </p:cNvPr>
                <p:cNvSpPr/>
                <p:nvPr/>
              </p:nvSpPr>
              <p:spPr>
                <a:xfrm>
                  <a:off x="11536256" y="3416441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5" name="Freeform 104">
                  <a:extLst>
                    <a:ext uri="{FF2B5EF4-FFF2-40B4-BE49-F238E27FC236}">
                      <a16:creationId xmlns:a16="http://schemas.microsoft.com/office/drawing/2014/main" id="{9F82FD7A-42D8-79C5-084C-CDB70F7F0740}"/>
                    </a:ext>
                  </a:extLst>
                </p:cNvPr>
                <p:cNvSpPr/>
                <p:nvPr/>
              </p:nvSpPr>
              <p:spPr>
                <a:xfrm>
                  <a:off x="11536256" y="3487477"/>
                  <a:ext cx="71041" cy="1014794"/>
                </a:xfrm>
                <a:custGeom>
                  <a:avLst/>
                  <a:gdLst>
                    <a:gd name="connsiteX0" fmla="*/ 0 w 71041"/>
                    <a:gd name="connsiteY0" fmla="*/ 0 h 1014794"/>
                    <a:gd name="connsiteX1" fmla="*/ 71042 w 71041"/>
                    <a:gd name="connsiteY1" fmla="*/ 0 h 1014794"/>
                    <a:gd name="connsiteX2" fmla="*/ 71042 w 71041"/>
                    <a:gd name="connsiteY2" fmla="*/ 1014794 h 1014794"/>
                    <a:gd name="connsiteX3" fmla="*/ 0 w 71041"/>
                    <a:gd name="connsiteY3" fmla="*/ 1014794 h 101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1014794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1014794"/>
                      </a:lnTo>
                      <a:lnTo>
                        <a:pt x="0" y="1014794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6" name="Freeform 105">
                  <a:extLst>
                    <a:ext uri="{FF2B5EF4-FFF2-40B4-BE49-F238E27FC236}">
                      <a16:creationId xmlns:a16="http://schemas.microsoft.com/office/drawing/2014/main" id="{748A52EB-DF50-A171-ED01-61219B1DF567}"/>
                    </a:ext>
                  </a:extLst>
                </p:cNvPr>
                <p:cNvSpPr/>
                <p:nvPr/>
              </p:nvSpPr>
              <p:spPr>
                <a:xfrm>
                  <a:off x="11536256" y="4502271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5 h 71035"/>
                    <a:gd name="connsiteX3" fmla="*/ 0 w 71041"/>
                    <a:gd name="connsiteY3" fmla="*/ 71035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5"/>
                      </a:lnTo>
                      <a:lnTo>
                        <a:pt x="0" y="71035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7" name="Freeform 106">
                  <a:extLst>
                    <a:ext uri="{FF2B5EF4-FFF2-40B4-BE49-F238E27FC236}">
                      <a16:creationId xmlns:a16="http://schemas.microsoft.com/office/drawing/2014/main" id="{CBDF4977-BC62-DCFA-D0A8-C6A37DA2ABC2}"/>
                    </a:ext>
                  </a:extLst>
                </p:cNvPr>
                <p:cNvSpPr/>
                <p:nvPr/>
              </p:nvSpPr>
              <p:spPr>
                <a:xfrm>
                  <a:off x="11536256" y="4573904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5 h 71035"/>
                    <a:gd name="connsiteX3" fmla="*/ 0 w 71041"/>
                    <a:gd name="connsiteY3" fmla="*/ 71035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5"/>
                      </a:lnTo>
                      <a:lnTo>
                        <a:pt x="0" y="71035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8" name="Freeform 107">
                  <a:extLst>
                    <a:ext uri="{FF2B5EF4-FFF2-40B4-BE49-F238E27FC236}">
                      <a16:creationId xmlns:a16="http://schemas.microsoft.com/office/drawing/2014/main" id="{EF89958A-7679-35FE-ECA2-886AB6407615}"/>
                    </a:ext>
                  </a:extLst>
                </p:cNvPr>
                <p:cNvSpPr/>
                <p:nvPr/>
              </p:nvSpPr>
              <p:spPr>
                <a:xfrm>
                  <a:off x="11536256" y="4644939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09" name="Freeform 108">
                  <a:extLst>
                    <a:ext uri="{FF2B5EF4-FFF2-40B4-BE49-F238E27FC236}">
                      <a16:creationId xmlns:a16="http://schemas.microsoft.com/office/drawing/2014/main" id="{5CB1544C-72B9-A8E3-EB76-126E4B2FE40E}"/>
                    </a:ext>
                  </a:extLst>
                </p:cNvPr>
                <p:cNvSpPr/>
                <p:nvPr/>
              </p:nvSpPr>
              <p:spPr>
                <a:xfrm>
                  <a:off x="11536256" y="471657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0" name="Freeform 109">
                  <a:extLst>
                    <a:ext uri="{FF2B5EF4-FFF2-40B4-BE49-F238E27FC236}">
                      <a16:creationId xmlns:a16="http://schemas.microsoft.com/office/drawing/2014/main" id="{05045E39-FFF7-CFE4-2B48-47A612378C79}"/>
                    </a:ext>
                  </a:extLst>
                </p:cNvPr>
                <p:cNvSpPr/>
                <p:nvPr/>
              </p:nvSpPr>
              <p:spPr>
                <a:xfrm>
                  <a:off x="11536256" y="478760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1" name="Freeform 110">
                  <a:extLst>
                    <a:ext uri="{FF2B5EF4-FFF2-40B4-BE49-F238E27FC236}">
                      <a16:creationId xmlns:a16="http://schemas.microsoft.com/office/drawing/2014/main" id="{3AB857A5-5FB1-42AB-EB67-B70BE96A899E}"/>
                    </a:ext>
                  </a:extLst>
                </p:cNvPr>
                <p:cNvSpPr/>
                <p:nvPr/>
              </p:nvSpPr>
              <p:spPr>
                <a:xfrm>
                  <a:off x="11536256" y="485864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2" name="Freeform 111">
                  <a:extLst>
                    <a:ext uri="{FF2B5EF4-FFF2-40B4-BE49-F238E27FC236}">
                      <a16:creationId xmlns:a16="http://schemas.microsoft.com/office/drawing/2014/main" id="{8AB55E3F-D74F-50A4-4136-1A43731AA9D3}"/>
                    </a:ext>
                  </a:extLst>
                </p:cNvPr>
                <p:cNvSpPr/>
                <p:nvPr/>
              </p:nvSpPr>
              <p:spPr>
                <a:xfrm>
                  <a:off x="11536256" y="493027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EAD72587-8FFC-57E4-866C-6A0A4765D968}"/>
                    </a:ext>
                  </a:extLst>
                </p:cNvPr>
                <p:cNvSpPr/>
                <p:nvPr/>
              </p:nvSpPr>
              <p:spPr>
                <a:xfrm>
                  <a:off x="11536256" y="5001311"/>
                  <a:ext cx="71638" cy="213703"/>
                </a:xfrm>
                <a:custGeom>
                  <a:avLst/>
                  <a:gdLst>
                    <a:gd name="connsiteX0" fmla="*/ 0 w 71638"/>
                    <a:gd name="connsiteY0" fmla="*/ 0 h 213703"/>
                    <a:gd name="connsiteX1" fmla="*/ 0 w 71638"/>
                    <a:gd name="connsiteY1" fmla="*/ 71035 h 213703"/>
                    <a:gd name="connsiteX2" fmla="*/ 0 w 71638"/>
                    <a:gd name="connsiteY2" fmla="*/ 71035 h 213703"/>
                    <a:gd name="connsiteX3" fmla="*/ 0 w 71638"/>
                    <a:gd name="connsiteY3" fmla="*/ 142071 h 213703"/>
                    <a:gd name="connsiteX4" fmla="*/ 0 w 71638"/>
                    <a:gd name="connsiteY4" fmla="*/ 213704 h 213703"/>
                    <a:gd name="connsiteX5" fmla="*/ 71639 w 71638"/>
                    <a:gd name="connsiteY5" fmla="*/ 213704 h 213703"/>
                    <a:gd name="connsiteX6" fmla="*/ 71639 w 71638"/>
                    <a:gd name="connsiteY6" fmla="*/ 142071 h 213703"/>
                    <a:gd name="connsiteX7" fmla="*/ 71639 w 71638"/>
                    <a:gd name="connsiteY7" fmla="*/ 142071 h 213703"/>
                    <a:gd name="connsiteX8" fmla="*/ 71639 w 71638"/>
                    <a:gd name="connsiteY8" fmla="*/ 71035 h 213703"/>
                    <a:gd name="connsiteX9" fmla="*/ 71639 w 71638"/>
                    <a:gd name="connsiteY9" fmla="*/ 71035 h 213703"/>
                    <a:gd name="connsiteX10" fmla="*/ 71639 w 71638"/>
                    <a:gd name="connsiteY10" fmla="*/ 0 h 213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1638" h="213703">
                      <a:moveTo>
                        <a:pt x="0" y="0"/>
                      </a:moveTo>
                      <a:lnTo>
                        <a:pt x="0" y="71035"/>
                      </a:lnTo>
                      <a:lnTo>
                        <a:pt x="0" y="71035"/>
                      </a:lnTo>
                      <a:lnTo>
                        <a:pt x="0" y="142071"/>
                      </a:lnTo>
                      <a:lnTo>
                        <a:pt x="0" y="213704"/>
                      </a:lnTo>
                      <a:lnTo>
                        <a:pt x="71639" y="213704"/>
                      </a:lnTo>
                      <a:lnTo>
                        <a:pt x="71639" y="142071"/>
                      </a:lnTo>
                      <a:lnTo>
                        <a:pt x="71639" y="142071"/>
                      </a:lnTo>
                      <a:lnTo>
                        <a:pt x="71639" y="71035"/>
                      </a:lnTo>
                      <a:lnTo>
                        <a:pt x="71639" y="71035"/>
                      </a:lnTo>
                      <a:lnTo>
                        <a:pt x="7163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818710EA-6087-22B0-7337-F1DCBF8FB639}"/>
                    </a:ext>
                  </a:extLst>
                </p:cNvPr>
                <p:cNvSpPr/>
                <p:nvPr/>
              </p:nvSpPr>
              <p:spPr>
                <a:xfrm>
                  <a:off x="11536256" y="2561626"/>
                  <a:ext cx="71638" cy="427407"/>
                </a:xfrm>
                <a:custGeom>
                  <a:avLst/>
                  <a:gdLst>
                    <a:gd name="connsiteX0" fmla="*/ 0 w 71638"/>
                    <a:gd name="connsiteY0" fmla="*/ 0 h 427407"/>
                    <a:gd name="connsiteX1" fmla="*/ 0 w 71638"/>
                    <a:gd name="connsiteY1" fmla="*/ 71036 h 427407"/>
                    <a:gd name="connsiteX2" fmla="*/ 0 w 71638"/>
                    <a:gd name="connsiteY2" fmla="*/ 142668 h 427407"/>
                    <a:gd name="connsiteX3" fmla="*/ 0 w 71638"/>
                    <a:gd name="connsiteY3" fmla="*/ 213704 h 427407"/>
                    <a:gd name="connsiteX4" fmla="*/ 0 w 71638"/>
                    <a:gd name="connsiteY4" fmla="*/ 284739 h 427407"/>
                    <a:gd name="connsiteX5" fmla="*/ 0 w 71638"/>
                    <a:gd name="connsiteY5" fmla="*/ 356372 h 427407"/>
                    <a:gd name="connsiteX6" fmla="*/ 0 w 71638"/>
                    <a:gd name="connsiteY6" fmla="*/ 427407 h 427407"/>
                    <a:gd name="connsiteX7" fmla="*/ 71639 w 71638"/>
                    <a:gd name="connsiteY7" fmla="*/ 427407 h 427407"/>
                    <a:gd name="connsiteX8" fmla="*/ 71639 w 71638"/>
                    <a:gd name="connsiteY8" fmla="*/ 356372 h 427407"/>
                    <a:gd name="connsiteX9" fmla="*/ 71639 w 71638"/>
                    <a:gd name="connsiteY9" fmla="*/ 356372 h 427407"/>
                    <a:gd name="connsiteX10" fmla="*/ 71639 w 71638"/>
                    <a:gd name="connsiteY10" fmla="*/ 284739 h 427407"/>
                    <a:gd name="connsiteX11" fmla="*/ 71639 w 71638"/>
                    <a:gd name="connsiteY11" fmla="*/ 284739 h 427407"/>
                    <a:gd name="connsiteX12" fmla="*/ 71639 w 71638"/>
                    <a:gd name="connsiteY12" fmla="*/ 213704 h 427407"/>
                    <a:gd name="connsiteX13" fmla="*/ 71639 w 71638"/>
                    <a:gd name="connsiteY13" fmla="*/ 213704 h 427407"/>
                    <a:gd name="connsiteX14" fmla="*/ 71639 w 71638"/>
                    <a:gd name="connsiteY14" fmla="*/ 142668 h 427407"/>
                    <a:gd name="connsiteX15" fmla="*/ 71639 w 71638"/>
                    <a:gd name="connsiteY15" fmla="*/ 142668 h 427407"/>
                    <a:gd name="connsiteX16" fmla="*/ 71639 w 71638"/>
                    <a:gd name="connsiteY16" fmla="*/ 71036 h 427407"/>
                    <a:gd name="connsiteX17" fmla="*/ 71639 w 71638"/>
                    <a:gd name="connsiteY17" fmla="*/ 71036 h 427407"/>
                    <a:gd name="connsiteX18" fmla="*/ 71639 w 71638"/>
                    <a:gd name="connsiteY18" fmla="*/ 0 h 427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1638" h="427407">
                      <a:moveTo>
                        <a:pt x="0" y="0"/>
                      </a:moveTo>
                      <a:lnTo>
                        <a:pt x="0" y="71036"/>
                      </a:lnTo>
                      <a:lnTo>
                        <a:pt x="0" y="142668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6372"/>
                      </a:lnTo>
                      <a:lnTo>
                        <a:pt x="0" y="427407"/>
                      </a:lnTo>
                      <a:lnTo>
                        <a:pt x="71639" y="427407"/>
                      </a:lnTo>
                      <a:lnTo>
                        <a:pt x="71639" y="356372"/>
                      </a:lnTo>
                      <a:lnTo>
                        <a:pt x="71639" y="356372"/>
                      </a:lnTo>
                      <a:lnTo>
                        <a:pt x="71639" y="284739"/>
                      </a:lnTo>
                      <a:lnTo>
                        <a:pt x="71639" y="284739"/>
                      </a:lnTo>
                      <a:lnTo>
                        <a:pt x="71639" y="213704"/>
                      </a:lnTo>
                      <a:lnTo>
                        <a:pt x="71639" y="213704"/>
                      </a:lnTo>
                      <a:lnTo>
                        <a:pt x="71639" y="142668"/>
                      </a:lnTo>
                      <a:lnTo>
                        <a:pt x="71639" y="142668"/>
                      </a:lnTo>
                      <a:lnTo>
                        <a:pt x="71639" y="71036"/>
                      </a:lnTo>
                      <a:lnTo>
                        <a:pt x="71639" y="71036"/>
                      </a:lnTo>
                      <a:lnTo>
                        <a:pt x="7163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5" name="Freeform 114">
                  <a:extLst>
                    <a:ext uri="{FF2B5EF4-FFF2-40B4-BE49-F238E27FC236}">
                      <a16:creationId xmlns:a16="http://schemas.microsoft.com/office/drawing/2014/main" id="{528CE28E-813A-9E25-543E-7D2B7A4BF57A}"/>
                    </a:ext>
                  </a:extLst>
                </p:cNvPr>
                <p:cNvSpPr/>
                <p:nvPr/>
              </p:nvSpPr>
              <p:spPr>
                <a:xfrm>
                  <a:off x="6406911" y="1849480"/>
                  <a:ext cx="71041" cy="712146"/>
                </a:xfrm>
                <a:custGeom>
                  <a:avLst/>
                  <a:gdLst>
                    <a:gd name="connsiteX0" fmla="*/ 0 w 71041"/>
                    <a:gd name="connsiteY0" fmla="*/ 71036 h 712146"/>
                    <a:gd name="connsiteX1" fmla="*/ 0 w 71041"/>
                    <a:gd name="connsiteY1" fmla="*/ 142071 h 712146"/>
                    <a:gd name="connsiteX2" fmla="*/ 0 w 71041"/>
                    <a:gd name="connsiteY2" fmla="*/ 213704 h 712146"/>
                    <a:gd name="connsiteX3" fmla="*/ 0 w 71041"/>
                    <a:gd name="connsiteY3" fmla="*/ 284739 h 712146"/>
                    <a:gd name="connsiteX4" fmla="*/ 0 w 71041"/>
                    <a:gd name="connsiteY4" fmla="*/ 355775 h 712146"/>
                    <a:gd name="connsiteX5" fmla="*/ 0 w 71041"/>
                    <a:gd name="connsiteY5" fmla="*/ 427407 h 712146"/>
                    <a:gd name="connsiteX6" fmla="*/ 0 w 71041"/>
                    <a:gd name="connsiteY6" fmla="*/ 498443 h 712146"/>
                    <a:gd name="connsiteX7" fmla="*/ 0 w 71041"/>
                    <a:gd name="connsiteY7" fmla="*/ 569479 h 712146"/>
                    <a:gd name="connsiteX8" fmla="*/ 0 w 71041"/>
                    <a:gd name="connsiteY8" fmla="*/ 641111 h 712146"/>
                    <a:gd name="connsiteX9" fmla="*/ 0 w 71041"/>
                    <a:gd name="connsiteY9" fmla="*/ 712147 h 712146"/>
                    <a:gd name="connsiteX10" fmla="*/ 71042 w 71041"/>
                    <a:gd name="connsiteY10" fmla="*/ 712147 h 712146"/>
                    <a:gd name="connsiteX11" fmla="*/ 71042 w 71041"/>
                    <a:gd name="connsiteY11" fmla="*/ 641111 h 712146"/>
                    <a:gd name="connsiteX12" fmla="*/ 71042 w 71041"/>
                    <a:gd name="connsiteY12" fmla="*/ 569479 h 712146"/>
                    <a:gd name="connsiteX13" fmla="*/ 71042 w 71041"/>
                    <a:gd name="connsiteY13" fmla="*/ 498443 h 712146"/>
                    <a:gd name="connsiteX14" fmla="*/ 71042 w 71041"/>
                    <a:gd name="connsiteY14" fmla="*/ 427407 h 712146"/>
                    <a:gd name="connsiteX15" fmla="*/ 71042 w 71041"/>
                    <a:gd name="connsiteY15" fmla="*/ 355775 h 712146"/>
                    <a:gd name="connsiteX16" fmla="*/ 71042 w 71041"/>
                    <a:gd name="connsiteY16" fmla="*/ 284739 h 712146"/>
                    <a:gd name="connsiteX17" fmla="*/ 71042 w 71041"/>
                    <a:gd name="connsiteY17" fmla="*/ 213704 h 712146"/>
                    <a:gd name="connsiteX18" fmla="*/ 71042 w 71041"/>
                    <a:gd name="connsiteY18" fmla="*/ 142071 h 712146"/>
                    <a:gd name="connsiteX19" fmla="*/ 71042 w 71041"/>
                    <a:gd name="connsiteY19" fmla="*/ 71036 h 712146"/>
                    <a:gd name="connsiteX20" fmla="*/ 71042 w 71041"/>
                    <a:gd name="connsiteY20" fmla="*/ 0 h 712146"/>
                    <a:gd name="connsiteX21" fmla="*/ 0 w 71041"/>
                    <a:gd name="connsiteY21" fmla="*/ 0 h 712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041" h="712146">
                      <a:moveTo>
                        <a:pt x="0" y="71036"/>
                      </a:moveTo>
                      <a:lnTo>
                        <a:pt x="0" y="142071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5775"/>
                      </a:lnTo>
                      <a:lnTo>
                        <a:pt x="0" y="427407"/>
                      </a:lnTo>
                      <a:lnTo>
                        <a:pt x="0" y="498443"/>
                      </a:lnTo>
                      <a:lnTo>
                        <a:pt x="0" y="569479"/>
                      </a:lnTo>
                      <a:lnTo>
                        <a:pt x="0" y="641111"/>
                      </a:lnTo>
                      <a:lnTo>
                        <a:pt x="0" y="712147"/>
                      </a:lnTo>
                      <a:lnTo>
                        <a:pt x="71042" y="712147"/>
                      </a:lnTo>
                      <a:lnTo>
                        <a:pt x="71042" y="641111"/>
                      </a:lnTo>
                      <a:lnTo>
                        <a:pt x="71042" y="569479"/>
                      </a:lnTo>
                      <a:lnTo>
                        <a:pt x="71042" y="498443"/>
                      </a:lnTo>
                      <a:lnTo>
                        <a:pt x="71042" y="427407"/>
                      </a:lnTo>
                      <a:lnTo>
                        <a:pt x="71042" y="355775"/>
                      </a:lnTo>
                      <a:lnTo>
                        <a:pt x="71042" y="284739"/>
                      </a:lnTo>
                      <a:lnTo>
                        <a:pt x="71042" y="213704"/>
                      </a:lnTo>
                      <a:lnTo>
                        <a:pt x="71042" y="142071"/>
                      </a:lnTo>
                      <a:lnTo>
                        <a:pt x="71042" y="71036"/>
                      </a:lnTo>
                      <a:lnTo>
                        <a:pt x="7104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6" name="Freeform 115">
                  <a:extLst>
                    <a:ext uri="{FF2B5EF4-FFF2-40B4-BE49-F238E27FC236}">
                      <a16:creationId xmlns:a16="http://schemas.microsoft.com/office/drawing/2014/main" id="{E9B24809-CA10-EB5F-3A97-EE5672CBB07A}"/>
                    </a:ext>
                  </a:extLst>
                </p:cNvPr>
                <p:cNvSpPr/>
                <p:nvPr/>
              </p:nvSpPr>
              <p:spPr>
                <a:xfrm>
                  <a:off x="11090900" y="2098403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988B52F9-78A5-C5C5-16CB-65B4D14208C5}"/>
                    </a:ext>
                  </a:extLst>
                </p:cNvPr>
                <p:cNvSpPr/>
                <p:nvPr/>
              </p:nvSpPr>
              <p:spPr>
                <a:xfrm>
                  <a:off x="11019859" y="217003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9D5FDA03-F712-9C8E-0E66-BD92B02EBC37}"/>
                    </a:ext>
                  </a:extLst>
                </p:cNvPr>
                <p:cNvSpPr/>
                <p:nvPr/>
              </p:nvSpPr>
              <p:spPr>
                <a:xfrm>
                  <a:off x="11162539" y="2170035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19" name="Freeform 118">
                  <a:extLst>
                    <a:ext uri="{FF2B5EF4-FFF2-40B4-BE49-F238E27FC236}">
                      <a16:creationId xmlns:a16="http://schemas.microsoft.com/office/drawing/2014/main" id="{E612D0A2-0578-2C6E-37D4-12A05A4055C3}"/>
                    </a:ext>
                  </a:extLst>
                </p:cNvPr>
                <p:cNvSpPr/>
                <p:nvPr/>
              </p:nvSpPr>
              <p:spPr>
                <a:xfrm>
                  <a:off x="11019859" y="202736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0" name="Freeform 119">
                  <a:extLst>
                    <a:ext uri="{FF2B5EF4-FFF2-40B4-BE49-F238E27FC236}">
                      <a16:creationId xmlns:a16="http://schemas.microsoft.com/office/drawing/2014/main" id="{467E4DE5-E945-88C2-928F-1992EF6E3BC8}"/>
                    </a:ext>
                  </a:extLst>
                </p:cNvPr>
                <p:cNvSpPr/>
                <p:nvPr/>
              </p:nvSpPr>
              <p:spPr>
                <a:xfrm>
                  <a:off x="11162539" y="202736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7288020D-78FC-7CBB-B254-73B7105224DA}"/>
                    </a:ext>
                  </a:extLst>
                </p:cNvPr>
                <p:cNvSpPr/>
                <p:nvPr/>
              </p:nvSpPr>
              <p:spPr>
                <a:xfrm>
                  <a:off x="10558385" y="2027367"/>
                  <a:ext cx="213125" cy="213703"/>
                </a:xfrm>
                <a:custGeom>
                  <a:avLst/>
                  <a:gdLst>
                    <a:gd name="connsiteX0" fmla="*/ 71042 w 213125"/>
                    <a:gd name="connsiteY0" fmla="*/ 213704 h 213703"/>
                    <a:gd name="connsiteX1" fmla="*/ 142084 w 213125"/>
                    <a:gd name="connsiteY1" fmla="*/ 213704 h 213703"/>
                    <a:gd name="connsiteX2" fmla="*/ 142084 w 213125"/>
                    <a:gd name="connsiteY2" fmla="*/ 213704 h 213703"/>
                    <a:gd name="connsiteX3" fmla="*/ 213125 w 213125"/>
                    <a:gd name="connsiteY3" fmla="*/ 213704 h 213703"/>
                    <a:gd name="connsiteX4" fmla="*/ 213125 w 213125"/>
                    <a:gd name="connsiteY4" fmla="*/ 142668 h 213703"/>
                    <a:gd name="connsiteX5" fmla="*/ 213125 w 213125"/>
                    <a:gd name="connsiteY5" fmla="*/ 71036 h 213703"/>
                    <a:gd name="connsiteX6" fmla="*/ 213125 w 213125"/>
                    <a:gd name="connsiteY6" fmla="*/ 0 h 213703"/>
                    <a:gd name="connsiteX7" fmla="*/ 142084 w 213125"/>
                    <a:gd name="connsiteY7" fmla="*/ 0 h 213703"/>
                    <a:gd name="connsiteX8" fmla="*/ 71042 w 213125"/>
                    <a:gd name="connsiteY8" fmla="*/ 0 h 213703"/>
                    <a:gd name="connsiteX9" fmla="*/ 0 w 213125"/>
                    <a:gd name="connsiteY9" fmla="*/ 0 h 213703"/>
                    <a:gd name="connsiteX10" fmla="*/ 0 w 213125"/>
                    <a:gd name="connsiteY10" fmla="*/ 71036 h 213703"/>
                    <a:gd name="connsiteX11" fmla="*/ 0 w 213125"/>
                    <a:gd name="connsiteY11" fmla="*/ 142071 h 213703"/>
                    <a:gd name="connsiteX12" fmla="*/ 0 w 213125"/>
                    <a:gd name="connsiteY12" fmla="*/ 213107 h 213703"/>
                    <a:gd name="connsiteX13" fmla="*/ 71042 w 213125"/>
                    <a:gd name="connsiteY13" fmla="*/ 213107 h 213703"/>
                    <a:gd name="connsiteX14" fmla="*/ 71042 w 213125"/>
                    <a:gd name="connsiteY14" fmla="*/ 213704 h 213703"/>
                    <a:gd name="connsiteX15" fmla="*/ 71042 w 213125"/>
                    <a:gd name="connsiteY15" fmla="*/ 71036 h 213703"/>
                    <a:gd name="connsiteX16" fmla="*/ 142084 w 213125"/>
                    <a:gd name="connsiteY16" fmla="*/ 71036 h 213703"/>
                    <a:gd name="connsiteX17" fmla="*/ 142084 w 213125"/>
                    <a:gd name="connsiteY17" fmla="*/ 142071 h 213703"/>
                    <a:gd name="connsiteX18" fmla="*/ 71042 w 213125"/>
                    <a:gd name="connsiteY18" fmla="*/ 142071 h 213703"/>
                    <a:gd name="connsiteX19" fmla="*/ 71042 w 213125"/>
                    <a:gd name="connsiteY19" fmla="*/ 71036 h 213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13125" h="213703">
                      <a:moveTo>
                        <a:pt x="71042" y="213704"/>
                      </a:moveTo>
                      <a:lnTo>
                        <a:pt x="142084" y="213704"/>
                      </a:lnTo>
                      <a:lnTo>
                        <a:pt x="142084" y="213704"/>
                      </a:lnTo>
                      <a:lnTo>
                        <a:pt x="213125" y="213704"/>
                      </a:lnTo>
                      <a:lnTo>
                        <a:pt x="213125" y="142668"/>
                      </a:lnTo>
                      <a:lnTo>
                        <a:pt x="213125" y="71036"/>
                      </a:lnTo>
                      <a:lnTo>
                        <a:pt x="213125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0" y="142071"/>
                      </a:lnTo>
                      <a:lnTo>
                        <a:pt x="0" y="213107"/>
                      </a:lnTo>
                      <a:lnTo>
                        <a:pt x="71042" y="213107"/>
                      </a:lnTo>
                      <a:lnTo>
                        <a:pt x="71042" y="213704"/>
                      </a:lnTo>
                      <a:close/>
                      <a:moveTo>
                        <a:pt x="71042" y="71036"/>
                      </a:moveTo>
                      <a:lnTo>
                        <a:pt x="142084" y="71036"/>
                      </a:lnTo>
                      <a:lnTo>
                        <a:pt x="142084" y="142071"/>
                      </a:lnTo>
                      <a:lnTo>
                        <a:pt x="71042" y="142071"/>
                      </a:lnTo>
                      <a:lnTo>
                        <a:pt x="71042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2" name="Freeform 121">
                  <a:extLst>
                    <a:ext uri="{FF2B5EF4-FFF2-40B4-BE49-F238E27FC236}">
                      <a16:creationId xmlns:a16="http://schemas.microsoft.com/office/drawing/2014/main" id="{367E8F05-D4FD-32C2-E7FB-D14F2D492774}"/>
                    </a:ext>
                  </a:extLst>
                </p:cNvPr>
                <p:cNvSpPr/>
                <p:nvPr/>
              </p:nvSpPr>
              <p:spPr>
                <a:xfrm>
                  <a:off x="10096911" y="2170035"/>
                  <a:ext cx="213723" cy="71035"/>
                </a:xfrm>
                <a:custGeom>
                  <a:avLst/>
                  <a:gdLst>
                    <a:gd name="connsiteX0" fmla="*/ 71042 w 213723"/>
                    <a:gd name="connsiteY0" fmla="*/ 71036 h 71035"/>
                    <a:gd name="connsiteX1" fmla="*/ 142084 w 213723"/>
                    <a:gd name="connsiteY1" fmla="*/ 71036 h 71035"/>
                    <a:gd name="connsiteX2" fmla="*/ 142084 w 213723"/>
                    <a:gd name="connsiteY2" fmla="*/ 71036 h 71035"/>
                    <a:gd name="connsiteX3" fmla="*/ 213723 w 213723"/>
                    <a:gd name="connsiteY3" fmla="*/ 71036 h 71035"/>
                    <a:gd name="connsiteX4" fmla="*/ 213723 w 213723"/>
                    <a:gd name="connsiteY4" fmla="*/ 0 h 71035"/>
                    <a:gd name="connsiteX5" fmla="*/ 142084 w 213723"/>
                    <a:gd name="connsiteY5" fmla="*/ 0 h 71035"/>
                    <a:gd name="connsiteX6" fmla="*/ 71042 w 213723"/>
                    <a:gd name="connsiteY6" fmla="*/ 0 h 71035"/>
                    <a:gd name="connsiteX7" fmla="*/ 0 w 213723"/>
                    <a:gd name="connsiteY7" fmla="*/ 0 h 71035"/>
                    <a:gd name="connsiteX8" fmla="*/ 0 w 213723"/>
                    <a:gd name="connsiteY8" fmla="*/ 71036 h 71035"/>
                    <a:gd name="connsiteX9" fmla="*/ 71042 w 213723"/>
                    <a:gd name="connsiteY9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13723" h="71035">
                      <a:moveTo>
                        <a:pt x="71042" y="71036"/>
                      </a:moveTo>
                      <a:lnTo>
                        <a:pt x="142084" y="71036"/>
                      </a:lnTo>
                      <a:lnTo>
                        <a:pt x="142084" y="71036"/>
                      </a:lnTo>
                      <a:lnTo>
                        <a:pt x="213723" y="71036"/>
                      </a:lnTo>
                      <a:lnTo>
                        <a:pt x="213723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3" name="Freeform 122">
                  <a:extLst>
                    <a:ext uri="{FF2B5EF4-FFF2-40B4-BE49-F238E27FC236}">
                      <a16:creationId xmlns:a16="http://schemas.microsoft.com/office/drawing/2014/main" id="{C1985E9A-36C2-BA99-F556-6EA51BEF9A7C}"/>
                    </a:ext>
                  </a:extLst>
                </p:cNvPr>
                <p:cNvSpPr/>
                <p:nvPr/>
              </p:nvSpPr>
              <p:spPr>
                <a:xfrm>
                  <a:off x="11536256" y="1849480"/>
                  <a:ext cx="71638" cy="712146"/>
                </a:xfrm>
                <a:custGeom>
                  <a:avLst/>
                  <a:gdLst>
                    <a:gd name="connsiteX0" fmla="*/ 71639 w 71638"/>
                    <a:gd name="connsiteY0" fmla="*/ 71036 h 712146"/>
                    <a:gd name="connsiteX1" fmla="*/ 71639 w 71638"/>
                    <a:gd name="connsiteY1" fmla="*/ 0 h 712146"/>
                    <a:gd name="connsiteX2" fmla="*/ 0 w 71638"/>
                    <a:gd name="connsiteY2" fmla="*/ 0 h 712146"/>
                    <a:gd name="connsiteX3" fmla="*/ 0 w 71638"/>
                    <a:gd name="connsiteY3" fmla="*/ 71036 h 712146"/>
                    <a:gd name="connsiteX4" fmla="*/ 0 w 71638"/>
                    <a:gd name="connsiteY4" fmla="*/ 142071 h 712146"/>
                    <a:gd name="connsiteX5" fmla="*/ 0 w 71638"/>
                    <a:gd name="connsiteY5" fmla="*/ 213704 h 712146"/>
                    <a:gd name="connsiteX6" fmla="*/ 0 w 71638"/>
                    <a:gd name="connsiteY6" fmla="*/ 284739 h 712146"/>
                    <a:gd name="connsiteX7" fmla="*/ 0 w 71638"/>
                    <a:gd name="connsiteY7" fmla="*/ 355775 h 712146"/>
                    <a:gd name="connsiteX8" fmla="*/ 0 w 71638"/>
                    <a:gd name="connsiteY8" fmla="*/ 427407 h 712146"/>
                    <a:gd name="connsiteX9" fmla="*/ 0 w 71638"/>
                    <a:gd name="connsiteY9" fmla="*/ 498443 h 712146"/>
                    <a:gd name="connsiteX10" fmla="*/ 0 w 71638"/>
                    <a:gd name="connsiteY10" fmla="*/ 569479 h 712146"/>
                    <a:gd name="connsiteX11" fmla="*/ 0 w 71638"/>
                    <a:gd name="connsiteY11" fmla="*/ 641111 h 712146"/>
                    <a:gd name="connsiteX12" fmla="*/ 0 w 71638"/>
                    <a:gd name="connsiteY12" fmla="*/ 712147 h 712146"/>
                    <a:gd name="connsiteX13" fmla="*/ 71639 w 71638"/>
                    <a:gd name="connsiteY13" fmla="*/ 712147 h 712146"/>
                    <a:gd name="connsiteX14" fmla="*/ 71639 w 71638"/>
                    <a:gd name="connsiteY14" fmla="*/ 641111 h 712146"/>
                    <a:gd name="connsiteX15" fmla="*/ 71639 w 71638"/>
                    <a:gd name="connsiteY15" fmla="*/ 641111 h 712146"/>
                    <a:gd name="connsiteX16" fmla="*/ 71639 w 71638"/>
                    <a:gd name="connsiteY16" fmla="*/ 569479 h 712146"/>
                    <a:gd name="connsiteX17" fmla="*/ 71639 w 71638"/>
                    <a:gd name="connsiteY17" fmla="*/ 569479 h 712146"/>
                    <a:gd name="connsiteX18" fmla="*/ 71639 w 71638"/>
                    <a:gd name="connsiteY18" fmla="*/ 498443 h 712146"/>
                    <a:gd name="connsiteX19" fmla="*/ 71639 w 71638"/>
                    <a:gd name="connsiteY19" fmla="*/ 498443 h 712146"/>
                    <a:gd name="connsiteX20" fmla="*/ 71639 w 71638"/>
                    <a:gd name="connsiteY20" fmla="*/ 427407 h 712146"/>
                    <a:gd name="connsiteX21" fmla="*/ 71639 w 71638"/>
                    <a:gd name="connsiteY21" fmla="*/ 427407 h 712146"/>
                    <a:gd name="connsiteX22" fmla="*/ 71639 w 71638"/>
                    <a:gd name="connsiteY22" fmla="*/ 355775 h 712146"/>
                    <a:gd name="connsiteX23" fmla="*/ 71639 w 71638"/>
                    <a:gd name="connsiteY23" fmla="*/ 355775 h 712146"/>
                    <a:gd name="connsiteX24" fmla="*/ 71639 w 71638"/>
                    <a:gd name="connsiteY24" fmla="*/ 284739 h 712146"/>
                    <a:gd name="connsiteX25" fmla="*/ 71639 w 71638"/>
                    <a:gd name="connsiteY25" fmla="*/ 284739 h 712146"/>
                    <a:gd name="connsiteX26" fmla="*/ 71639 w 71638"/>
                    <a:gd name="connsiteY26" fmla="*/ 213704 h 712146"/>
                    <a:gd name="connsiteX27" fmla="*/ 71639 w 71638"/>
                    <a:gd name="connsiteY27" fmla="*/ 213704 h 712146"/>
                    <a:gd name="connsiteX28" fmla="*/ 71639 w 71638"/>
                    <a:gd name="connsiteY28" fmla="*/ 142071 h 712146"/>
                    <a:gd name="connsiteX29" fmla="*/ 71639 w 71638"/>
                    <a:gd name="connsiteY29" fmla="*/ 142071 h 712146"/>
                    <a:gd name="connsiteX30" fmla="*/ 71639 w 71638"/>
                    <a:gd name="connsiteY30" fmla="*/ 71036 h 712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71638" h="712146">
                      <a:moveTo>
                        <a:pt x="71639" y="71036"/>
                      </a:move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0" y="142071"/>
                      </a:lnTo>
                      <a:lnTo>
                        <a:pt x="0" y="213704"/>
                      </a:lnTo>
                      <a:lnTo>
                        <a:pt x="0" y="284739"/>
                      </a:lnTo>
                      <a:lnTo>
                        <a:pt x="0" y="355775"/>
                      </a:lnTo>
                      <a:lnTo>
                        <a:pt x="0" y="427407"/>
                      </a:lnTo>
                      <a:lnTo>
                        <a:pt x="0" y="498443"/>
                      </a:lnTo>
                      <a:lnTo>
                        <a:pt x="0" y="569479"/>
                      </a:lnTo>
                      <a:lnTo>
                        <a:pt x="0" y="641111"/>
                      </a:lnTo>
                      <a:lnTo>
                        <a:pt x="0" y="712147"/>
                      </a:lnTo>
                      <a:lnTo>
                        <a:pt x="71639" y="712147"/>
                      </a:lnTo>
                      <a:lnTo>
                        <a:pt x="71639" y="641111"/>
                      </a:lnTo>
                      <a:lnTo>
                        <a:pt x="71639" y="641111"/>
                      </a:lnTo>
                      <a:lnTo>
                        <a:pt x="71639" y="569479"/>
                      </a:lnTo>
                      <a:lnTo>
                        <a:pt x="71639" y="569479"/>
                      </a:lnTo>
                      <a:lnTo>
                        <a:pt x="71639" y="498443"/>
                      </a:lnTo>
                      <a:lnTo>
                        <a:pt x="71639" y="498443"/>
                      </a:lnTo>
                      <a:lnTo>
                        <a:pt x="71639" y="427407"/>
                      </a:lnTo>
                      <a:lnTo>
                        <a:pt x="71639" y="427407"/>
                      </a:lnTo>
                      <a:lnTo>
                        <a:pt x="71639" y="355775"/>
                      </a:lnTo>
                      <a:lnTo>
                        <a:pt x="71639" y="355775"/>
                      </a:lnTo>
                      <a:lnTo>
                        <a:pt x="71639" y="284739"/>
                      </a:lnTo>
                      <a:lnTo>
                        <a:pt x="71639" y="284739"/>
                      </a:lnTo>
                      <a:lnTo>
                        <a:pt x="71639" y="213704"/>
                      </a:lnTo>
                      <a:lnTo>
                        <a:pt x="71639" y="213704"/>
                      </a:lnTo>
                      <a:lnTo>
                        <a:pt x="71639" y="142071"/>
                      </a:lnTo>
                      <a:lnTo>
                        <a:pt x="71639" y="142071"/>
                      </a:lnTo>
                      <a:lnTo>
                        <a:pt x="71639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4" name="Freeform 123">
                  <a:extLst>
                    <a:ext uri="{FF2B5EF4-FFF2-40B4-BE49-F238E27FC236}">
                      <a16:creationId xmlns:a16="http://schemas.microsoft.com/office/drawing/2014/main" id="{798D8CC4-D95F-CB09-4EFF-D5A98CA09BFB}"/>
                    </a:ext>
                  </a:extLst>
                </p:cNvPr>
                <p:cNvSpPr/>
                <p:nvPr/>
              </p:nvSpPr>
              <p:spPr>
                <a:xfrm>
                  <a:off x="11465214" y="177784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5" name="Freeform 124">
                  <a:extLst>
                    <a:ext uri="{FF2B5EF4-FFF2-40B4-BE49-F238E27FC236}">
                      <a16:creationId xmlns:a16="http://schemas.microsoft.com/office/drawing/2014/main" id="{5CC75FA6-6FBF-A7E8-851C-E4E11566FC47}"/>
                    </a:ext>
                  </a:extLst>
                </p:cNvPr>
                <p:cNvSpPr/>
                <p:nvPr/>
              </p:nvSpPr>
              <p:spPr>
                <a:xfrm>
                  <a:off x="6477952" y="1777847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6" name="Freeform 125">
                  <a:extLst>
                    <a:ext uri="{FF2B5EF4-FFF2-40B4-BE49-F238E27FC236}">
                      <a16:creationId xmlns:a16="http://schemas.microsoft.com/office/drawing/2014/main" id="{880F1AB1-E54A-3E0D-47AB-D1A075C07EA7}"/>
                    </a:ext>
                  </a:extLst>
                </p:cNvPr>
                <p:cNvSpPr/>
                <p:nvPr/>
              </p:nvSpPr>
              <p:spPr>
                <a:xfrm>
                  <a:off x="6549591" y="1706812"/>
                  <a:ext cx="712210" cy="71035"/>
                </a:xfrm>
                <a:custGeom>
                  <a:avLst/>
                  <a:gdLst>
                    <a:gd name="connsiteX0" fmla="*/ 569529 w 712210"/>
                    <a:gd name="connsiteY0" fmla="*/ 0 h 71035"/>
                    <a:gd name="connsiteX1" fmla="*/ 498487 w 712210"/>
                    <a:gd name="connsiteY1" fmla="*/ 0 h 71035"/>
                    <a:gd name="connsiteX2" fmla="*/ 427445 w 712210"/>
                    <a:gd name="connsiteY2" fmla="*/ 0 h 71035"/>
                    <a:gd name="connsiteX3" fmla="*/ 355807 w 712210"/>
                    <a:gd name="connsiteY3" fmla="*/ 0 h 71035"/>
                    <a:gd name="connsiteX4" fmla="*/ 284765 w 712210"/>
                    <a:gd name="connsiteY4" fmla="*/ 0 h 71035"/>
                    <a:gd name="connsiteX5" fmla="*/ 213723 w 712210"/>
                    <a:gd name="connsiteY5" fmla="*/ 0 h 71035"/>
                    <a:gd name="connsiteX6" fmla="*/ 142084 w 712210"/>
                    <a:gd name="connsiteY6" fmla="*/ 0 h 71035"/>
                    <a:gd name="connsiteX7" fmla="*/ 71042 w 712210"/>
                    <a:gd name="connsiteY7" fmla="*/ 0 h 71035"/>
                    <a:gd name="connsiteX8" fmla="*/ 0 w 712210"/>
                    <a:gd name="connsiteY8" fmla="*/ 0 h 71035"/>
                    <a:gd name="connsiteX9" fmla="*/ 0 w 712210"/>
                    <a:gd name="connsiteY9" fmla="*/ 71036 h 71035"/>
                    <a:gd name="connsiteX10" fmla="*/ 71042 w 712210"/>
                    <a:gd name="connsiteY10" fmla="*/ 71036 h 71035"/>
                    <a:gd name="connsiteX11" fmla="*/ 142084 w 712210"/>
                    <a:gd name="connsiteY11" fmla="*/ 71036 h 71035"/>
                    <a:gd name="connsiteX12" fmla="*/ 213723 w 712210"/>
                    <a:gd name="connsiteY12" fmla="*/ 71036 h 71035"/>
                    <a:gd name="connsiteX13" fmla="*/ 284765 w 712210"/>
                    <a:gd name="connsiteY13" fmla="*/ 71036 h 71035"/>
                    <a:gd name="connsiteX14" fmla="*/ 355807 w 712210"/>
                    <a:gd name="connsiteY14" fmla="*/ 71036 h 71035"/>
                    <a:gd name="connsiteX15" fmla="*/ 427445 w 712210"/>
                    <a:gd name="connsiteY15" fmla="*/ 71036 h 71035"/>
                    <a:gd name="connsiteX16" fmla="*/ 498487 w 712210"/>
                    <a:gd name="connsiteY16" fmla="*/ 71036 h 71035"/>
                    <a:gd name="connsiteX17" fmla="*/ 569529 w 712210"/>
                    <a:gd name="connsiteY17" fmla="*/ 71036 h 71035"/>
                    <a:gd name="connsiteX18" fmla="*/ 641168 w 712210"/>
                    <a:gd name="connsiteY18" fmla="*/ 71036 h 71035"/>
                    <a:gd name="connsiteX19" fmla="*/ 712210 w 712210"/>
                    <a:gd name="connsiteY19" fmla="*/ 71036 h 71035"/>
                    <a:gd name="connsiteX20" fmla="*/ 712210 w 712210"/>
                    <a:gd name="connsiteY20" fmla="*/ 0 h 71035"/>
                    <a:gd name="connsiteX21" fmla="*/ 641168 w 712210"/>
                    <a:gd name="connsiteY2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2210" h="71035">
                      <a:moveTo>
                        <a:pt x="569529" y="0"/>
                      </a:move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5807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084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084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5807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69529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7" name="Freeform 126">
                  <a:extLst>
                    <a:ext uri="{FF2B5EF4-FFF2-40B4-BE49-F238E27FC236}">
                      <a16:creationId xmlns:a16="http://schemas.microsoft.com/office/drawing/2014/main" id="{1718092B-A6A8-1619-A6B7-2BEF4DBBD425}"/>
                    </a:ext>
                  </a:extLst>
                </p:cNvPr>
                <p:cNvSpPr/>
                <p:nvPr/>
              </p:nvSpPr>
              <p:spPr>
                <a:xfrm>
                  <a:off x="7261801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8" name="Freeform 127">
                  <a:extLst>
                    <a:ext uri="{FF2B5EF4-FFF2-40B4-BE49-F238E27FC236}">
                      <a16:creationId xmlns:a16="http://schemas.microsoft.com/office/drawing/2014/main" id="{906DB555-6139-F4C3-1DE4-8A368799B118}"/>
                    </a:ext>
                  </a:extLst>
                </p:cNvPr>
                <p:cNvSpPr/>
                <p:nvPr/>
              </p:nvSpPr>
              <p:spPr>
                <a:xfrm>
                  <a:off x="7332843" y="1706812"/>
                  <a:ext cx="1068613" cy="71035"/>
                </a:xfrm>
                <a:custGeom>
                  <a:avLst/>
                  <a:gdLst>
                    <a:gd name="connsiteX0" fmla="*/ 926530 w 1068613"/>
                    <a:gd name="connsiteY0" fmla="*/ 0 h 71035"/>
                    <a:gd name="connsiteX1" fmla="*/ 854891 w 1068613"/>
                    <a:gd name="connsiteY1" fmla="*/ 0 h 71035"/>
                    <a:gd name="connsiteX2" fmla="*/ 783849 w 1068613"/>
                    <a:gd name="connsiteY2" fmla="*/ 0 h 71035"/>
                    <a:gd name="connsiteX3" fmla="*/ 712807 w 1068613"/>
                    <a:gd name="connsiteY3" fmla="*/ 0 h 71035"/>
                    <a:gd name="connsiteX4" fmla="*/ 641168 w 1068613"/>
                    <a:gd name="connsiteY4" fmla="*/ 0 h 71035"/>
                    <a:gd name="connsiteX5" fmla="*/ 570126 w 1068613"/>
                    <a:gd name="connsiteY5" fmla="*/ 0 h 71035"/>
                    <a:gd name="connsiteX6" fmla="*/ 499084 w 1068613"/>
                    <a:gd name="connsiteY6" fmla="*/ 0 h 71035"/>
                    <a:gd name="connsiteX7" fmla="*/ 427445 w 1068613"/>
                    <a:gd name="connsiteY7" fmla="*/ 0 h 71035"/>
                    <a:gd name="connsiteX8" fmla="*/ 356404 w 1068613"/>
                    <a:gd name="connsiteY8" fmla="*/ 0 h 71035"/>
                    <a:gd name="connsiteX9" fmla="*/ 285362 w 1068613"/>
                    <a:gd name="connsiteY9" fmla="*/ 0 h 71035"/>
                    <a:gd name="connsiteX10" fmla="*/ 213723 w 1068613"/>
                    <a:gd name="connsiteY10" fmla="*/ 0 h 71035"/>
                    <a:gd name="connsiteX11" fmla="*/ 142681 w 1068613"/>
                    <a:gd name="connsiteY11" fmla="*/ 0 h 71035"/>
                    <a:gd name="connsiteX12" fmla="*/ 71639 w 1068613"/>
                    <a:gd name="connsiteY12" fmla="*/ 0 h 71035"/>
                    <a:gd name="connsiteX13" fmla="*/ 0 w 1068613"/>
                    <a:gd name="connsiteY13" fmla="*/ 0 h 71035"/>
                    <a:gd name="connsiteX14" fmla="*/ 0 w 1068613"/>
                    <a:gd name="connsiteY14" fmla="*/ 71036 h 71035"/>
                    <a:gd name="connsiteX15" fmla="*/ 71639 w 1068613"/>
                    <a:gd name="connsiteY15" fmla="*/ 71036 h 71035"/>
                    <a:gd name="connsiteX16" fmla="*/ 142681 w 1068613"/>
                    <a:gd name="connsiteY16" fmla="*/ 71036 h 71035"/>
                    <a:gd name="connsiteX17" fmla="*/ 213723 w 1068613"/>
                    <a:gd name="connsiteY17" fmla="*/ 71036 h 71035"/>
                    <a:gd name="connsiteX18" fmla="*/ 285362 w 1068613"/>
                    <a:gd name="connsiteY18" fmla="*/ 71036 h 71035"/>
                    <a:gd name="connsiteX19" fmla="*/ 356404 w 1068613"/>
                    <a:gd name="connsiteY19" fmla="*/ 71036 h 71035"/>
                    <a:gd name="connsiteX20" fmla="*/ 427445 w 1068613"/>
                    <a:gd name="connsiteY20" fmla="*/ 71036 h 71035"/>
                    <a:gd name="connsiteX21" fmla="*/ 499084 w 1068613"/>
                    <a:gd name="connsiteY21" fmla="*/ 71036 h 71035"/>
                    <a:gd name="connsiteX22" fmla="*/ 570126 w 1068613"/>
                    <a:gd name="connsiteY22" fmla="*/ 71036 h 71035"/>
                    <a:gd name="connsiteX23" fmla="*/ 641168 w 1068613"/>
                    <a:gd name="connsiteY23" fmla="*/ 71036 h 71035"/>
                    <a:gd name="connsiteX24" fmla="*/ 712807 w 1068613"/>
                    <a:gd name="connsiteY24" fmla="*/ 71036 h 71035"/>
                    <a:gd name="connsiteX25" fmla="*/ 783849 w 1068613"/>
                    <a:gd name="connsiteY25" fmla="*/ 71036 h 71035"/>
                    <a:gd name="connsiteX26" fmla="*/ 854891 w 1068613"/>
                    <a:gd name="connsiteY26" fmla="*/ 71036 h 71035"/>
                    <a:gd name="connsiteX27" fmla="*/ 926530 w 1068613"/>
                    <a:gd name="connsiteY27" fmla="*/ 71036 h 71035"/>
                    <a:gd name="connsiteX28" fmla="*/ 997572 w 1068613"/>
                    <a:gd name="connsiteY28" fmla="*/ 71036 h 71035"/>
                    <a:gd name="connsiteX29" fmla="*/ 1068614 w 1068613"/>
                    <a:gd name="connsiteY29" fmla="*/ 71036 h 71035"/>
                    <a:gd name="connsiteX30" fmla="*/ 1068614 w 1068613"/>
                    <a:gd name="connsiteY30" fmla="*/ 0 h 71035"/>
                    <a:gd name="connsiteX31" fmla="*/ 997572 w 1068613"/>
                    <a:gd name="connsiteY31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068613" h="71035">
                      <a:moveTo>
                        <a:pt x="926530" y="0"/>
                      </a:moveTo>
                      <a:lnTo>
                        <a:pt x="854891" y="0"/>
                      </a:lnTo>
                      <a:lnTo>
                        <a:pt x="783849" y="0"/>
                      </a:lnTo>
                      <a:lnTo>
                        <a:pt x="712807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6530" y="71036"/>
                      </a:lnTo>
                      <a:lnTo>
                        <a:pt x="997572" y="71036"/>
                      </a:lnTo>
                      <a:lnTo>
                        <a:pt x="1068614" y="71036"/>
                      </a:lnTo>
                      <a:lnTo>
                        <a:pt x="1068614" y="0"/>
                      </a:lnTo>
                      <a:lnTo>
                        <a:pt x="997572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29" name="Freeform 128">
                  <a:extLst>
                    <a:ext uri="{FF2B5EF4-FFF2-40B4-BE49-F238E27FC236}">
                      <a16:creationId xmlns:a16="http://schemas.microsoft.com/office/drawing/2014/main" id="{97E35B61-2137-2671-14BE-6352C8CB8A88}"/>
                    </a:ext>
                  </a:extLst>
                </p:cNvPr>
                <p:cNvSpPr/>
                <p:nvPr/>
              </p:nvSpPr>
              <p:spPr>
                <a:xfrm>
                  <a:off x="8401457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0" name="Freeform 129">
                  <a:extLst>
                    <a:ext uri="{FF2B5EF4-FFF2-40B4-BE49-F238E27FC236}">
                      <a16:creationId xmlns:a16="http://schemas.microsoft.com/office/drawing/2014/main" id="{6CDA0ACB-6425-086D-F629-D5368615B0B6}"/>
                    </a:ext>
                  </a:extLst>
                </p:cNvPr>
                <p:cNvSpPr/>
                <p:nvPr/>
              </p:nvSpPr>
              <p:spPr>
                <a:xfrm>
                  <a:off x="8473096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1" name="Freeform 130">
                  <a:extLst>
                    <a:ext uri="{FF2B5EF4-FFF2-40B4-BE49-F238E27FC236}">
                      <a16:creationId xmlns:a16="http://schemas.microsoft.com/office/drawing/2014/main" id="{01FB4995-FB84-C201-CA11-C81C1A04AF06}"/>
                    </a:ext>
                  </a:extLst>
                </p:cNvPr>
                <p:cNvSpPr/>
                <p:nvPr/>
              </p:nvSpPr>
              <p:spPr>
                <a:xfrm>
                  <a:off x="8544138" y="1706812"/>
                  <a:ext cx="997571" cy="71035"/>
                </a:xfrm>
                <a:custGeom>
                  <a:avLst/>
                  <a:gdLst>
                    <a:gd name="connsiteX0" fmla="*/ 854891 w 997571"/>
                    <a:gd name="connsiteY0" fmla="*/ 0 h 71035"/>
                    <a:gd name="connsiteX1" fmla="*/ 783849 w 997571"/>
                    <a:gd name="connsiteY1" fmla="*/ 0 h 71035"/>
                    <a:gd name="connsiteX2" fmla="*/ 712210 w 997571"/>
                    <a:gd name="connsiteY2" fmla="*/ 0 h 71035"/>
                    <a:gd name="connsiteX3" fmla="*/ 641168 w 997571"/>
                    <a:gd name="connsiteY3" fmla="*/ 0 h 71035"/>
                    <a:gd name="connsiteX4" fmla="*/ 570126 w 997571"/>
                    <a:gd name="connsiteY4" fmla="*/ 0 h 71035"/>
                    <a:gd name="connsiteX5" fmla="*/ 498487 w 997571"/>
                    <a:gd name="connsiteY5" fmla="*/ 0 h 71035"/>
                    <a:gd name="connsiteX6" fmla="*/ 427445 w 997571"/>
                    <a:gd name="connsiteY6" fmla="*/ 0 h 71035"/>
                    <a:gd name="connsiteX7" fmla="*/ 356404 w 997571"/>
                    <a:gd name="connsiteY7" fmla="*/ 0 h 71035"/>
                    <a:gd name="connsiteX8" fmla="*/ 284765 w 997571"/>
                    <a:gd name="connsiteY8" fmla="*/ 0 h 71035"/>
                    <a:gd name="connsiteX9" fmla="*/ 213723 w 997571"/>
                    <a:gd name="connsiteY9" fmla="*/ 0 h 71035"/>
                    <a:gd name="connsiteX10" fmla="*/ 142681 w 997571"/>
                    <a:gd name="connsiteY10" fmla="*/ 0 h 71035"/>
                    <a:gd name="connsiteX11" fmla="*/ 71042 w 997571"/>
                    <a:gd name="connsiteY11" fmla="*/ 0 h 71035"/>
                    <a:gd name="connsiteX12" fmla="*/ 0 w 997571"/>
                    <a:gd name="connsiteY12" fmla="*/ 0 h 71035"/>
                    <a:gd name="connsiteX13" fmla="*/ 0 w 997571"/>
                    <a:gd name="connsiteY13" fmla="*/ 71036 h 71035"/>
                    <a:gd name="connsiteX14" fmla="*/ 71042 w 997571"/>
                    <a:gd name="connsiteY14" fmla="*/ 71036 h 71035"/>
                    <a:gd name="connsiteX15" fmla="*/ 142681 w 997571"/>
                    <a:gd name="connsiteY15" fmla="*/ 71036 h 71035"/>
                    <a:gd name="connsiteX16" fmla="*/ 213723 w 997571"/>
                    <a:gd name="connsiteY16" fmla="*/ 71036 h 71035"/>
                    <a:gd name="connsiteX17" fmla="*/ 284765 w 997571"/>
                    <a:gd name="connsiteY17" fmla="*/ 71036 h 71035"/>
                    <a:gd name="connsiteX18" fmla="*/ 356404 w 997571"/>
                    <a:gd name="connsiteY18" fmla="*/ 71036 h 71035"/>
                    <a:gd name="connsiteX19" fmla="*/ 427445 w 997571"/>
                    <a:gd name="connsiteY19" fmla="*/ 71036 h 71035"/>
                    <a:gd name="connsiteX20" fmla="*/ 498487 w 997571"/>
                    <a:gd name="connsiteY20" fmla="*/ 71036 h 71035"/>
                    <a:gd name="connsiteX21" fmla="*/ 570126 w 997571"/>
                    <a:gd name="connsiteY21" fmla="*/ 71036 h 71035"/>
                    <a:gd name="connsiteX22" fmla="*/ 641168 w 997571"/>
                    <a:gd name="connsiteY22" fmla="*/ 71036 h 71035"/>
                    <a:gd name="connsiteX23" fmla="*/ 712210 w 997571"/>
                    <a:gd name="connsiteY23" fmla="*/ 71036 h 71035"/>
                    <a:gd name="connsiteX24" fmla="*/ 783849 w 997571"/>
                    <a:gd name="connsiteY24" fmla="*/ 71036 h 71035"/>
                    <a:gd name="connsiteX25" fmla="*/ 854891 w 997571"/>
                    <a:gd name="connsiteY25" fmla="*/ 71036 h 71035"/>
                    <a:gd name="connsiteX26" fmla="*/ 925933 w 997571"/>
                    <a:gd name="connsiteY26" fmla="*/ 71036 h 71035"/>
                    <a:gd name="connsiteX27" fmla="*/ 997572 w 997571"/>
                    <a:gd name="connsiteY27" fmla="*/ 71036 h 71035"/>
                    <a:gd name="connsiteX28" fmla="*/ 997572 w 997571"/>
                    <a:gd name="connsiteY28" fmla="*/ 0 h 71035"/>
                    <a:gd name="connsiteX29" fmla="*/ 925933 w 997571"/>
                    <a:gd name="connsiteY29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997571" h="71035">
                      <a:moveTo>
                        <a:pt x="854891" y="0"/>
                      </a:moveTo>
                      <a:lnTo>
                        <a:pt x="783849" y="0"/>
                      </a:lnTo>
                      <a:lnTo>
                        <a:pt x="712210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925933" y="71036"/>
                      </a:lnTo>
                      <a:lnTo>
                        <a:pt x="997572" y="71036"/>
                      </a:lnTo>
                      <a:lnTo>
                        <a:pt x="997572" y="0"/>
                      </a:lnTo>
                      <a:lnTo>
                        <a:pt x="925933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2" name="Freeform 131">
                  <a:extLst>
                    <a:ext uri="{FF2B5EF4-FFF2-40B4-BE49-F238E27FC236}">
                      <a16:creationId xmlns:a16="http://schemas.microsoft.com/office/drawing/2014/main" id="{E4E4FCE2-58EB-7041-F69D-79659BBBF400}"/>
                    </a:ext>
                  </a:extLst>
                </p:cNvPr>
                <p:cNvSpPr/>
                <p:nvPr/>
              </p:nvSpPr>
              <p:spPr>
                <a:xfrm>
                  <a:off x="9541709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3" name="Freeform 132">
                  <a:extLst>
                    <a:ext uri="{FF2B5EF4-FFF2-40B4-BE49-F238E27FC236}">
                      <a16:creationId xmlns:a16="http://schemas.microsoft.com/office/drawing/2014/main" id="{D4B13E53-EA40-A372-CB00-C52390A339F6}"/>
                    </a:ext>
                  </a:extLst>
                </p:cNvPr>
                <p:cNvSpPr/>
                <p:nvPr/>
              </p:nvSpPr>
              <p:spPr>
                <a:xfrm>
                  <a:off x="9612751" y="1706812"/>
                  <a:ext cx="854890" cy="71035"/>
                </a:xfrm>
                <a:custGeom>
                  <a:avLst/>
                  <a:gdLst>
                    <a:gd name="connsiteX0" fmla="*/ 712807 w 854890"/>
                    <a:gd name="connsiteY0" fmla="*/ 0 h 71035"/>
                    <a:gd name="connsiteX1" fmla="*/ 641168 w 854890"/>
                    <a:gd name="connsiteY1" fmla="*/ 0 h 71035"/>
                    <a:gd name="connsiteX2" fmla="*/ 570126 w 854890"/>
                    <a:gd name="connsiteY2" fmla="*/ 0 h 71035"/>
                    <a:gd name="connsiteX3" fmla="*/ 499084 w 854890"/>
                    <a:gd name="connsiteY3" fmla="*/ 0 h 71035"/>
                    <a:gd name="connsiteX4" fmla="*/ 427445 w 854890"/>
                    <a:gd name="connsiteY4" fmla="*/ 0 h 71035"/>
                    <a:gd name="connsiteX5" fmla="*/ 356404 w 854890"/>
                    <a:gd name="connsiteY5" fmla="*/ 0 h 71035"/>
                    <a:gd name="connsiteX6" fmla="*/ 285362 w 854890"/>
                    <a:gd name="connsiteY6" fmla="*/ 0 h 71035"/>
                    <a:gd name="connsiteX7" fmla="*/ 213723 w 854890"/>
                    <a:gd name="connsiteY7" fmla="*/ 0 h 71035"/>
                    <a:gd name="connsiteX8" fmla="*/ 142681 w 854890"/>
                    <a:gd name="connsiteY8" fmla="*/ 0 h 71035"/>
                    <a:gd name="connsiteX9" fmla="*/ 71639 w 854890"/>
                    <a:gd name="connsiteY9" fmla="*/ 0 h 71035"/>
                    <a:gd name="connsiteX10" fmla="*/ 0 w 854890"/>
                    <a:gd name="connsiteY10" fmla="*/ 0 h 71035"/>
                    <a:gd name="connsiteX11" fmla="*/ 0 w 854890"/>
                    <a:gd name="connsiteY11" fmla="*/ 71036 h 71035"/>
                    <a:gd name="connsiteX12" fmla="*/ 71639 w 854890"/>
                    <a:gd name="connsiteY12" fmla="*/ 71036 h 71035"/>
                    <a:gd name="connsiteX13" fmla="*/ 142681 w 854890"/>
                    <a:gd name="connsiteY13" fmla="*/ 71036 h 71035"/>
                    <a:gd name="connsiteX14" fmla="*/ 213723 w 854890"/>
                    <a:gd name="connsiteY14" fmla="*/ 71036 h 71035"/>
                    <a:gd name="connsiteX15" fmla="*/ 285362 w 854890"/>
                    <a:gd name="connsiteY15" fmla="*/ 71036 h 71035"/>
                    <a:gd name="connsiteX16" fmla="*/ 356404 w 854890"/>
                    <a:gd name="connsiteY16" fmla="*/ 71036 h 71035"/>
                    <a:gd name="connsiteX17" fmla="*/ 427445 w 854890"/>
                    <a:gd name="connsiteY17" fmla="*/ 71036 h 71035"/>
                    <a:gd name="connsiteX18" fmla="*/ 499084 w 854890"/>
                    <a:gd name="connsiteY18" fmla="*/ 71036 h 71035"/>
                    <a:gd name="connsiteX19" fmla="*/ 570126 w 854890"/>
                    <a:gd name="connsiteY19" fmla="*/ 71036 h 71035"/>
                    <a:gd name="connsiteX20" fmla="*/ 641168 w 854890"/>
                    <a:gd name="connsiteY20" fmla="*/ 71036 h 71035"/>
                    <a:gd name="connsiteX21" fmla="*/ 712807 w 854890"/>
                    <a:gd name="connsiteY21" fmla="*/ 71036 h 71035"/>
                    <a:gd name="connsiteX22" fmla="*/ 783849 w 854890"/>
                    <a:gd name="connsiteY22" fmla="*/ 71036 h 71035"/>
                    <a:gd name="connsiteX23" fmla="*/ 854891 w 854890"/>
                    <a:gd name="connsiteY23" fmla="*/ 71036 h 71035"/>
                    <a:gd name="connsiteX24" fmla="*/ 854891 w 854890"/>
                    <a:gd name="connsiteY24" fmla="*/ 0 h 71035"/>
                    <a:gd name="connsiteX25" fmla="*/ 783849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12807" y="0"/>
                      </a:move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9084" y="0"/>
                      </a:lnTo>
                      <a:lnTo>
                        <a:pt x="427445" y="0"/>
                      </a:lnTo>
                      <a:lnTo>
                        <a:pt x="356404" y="0"/>
                      </a:lnTo>
                      <a:lnTo>
                        <a:pt x="285362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639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639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5362" y="71036"/>
                      </a:lnTo>
                      <a:lnTo>
                        <a:pt x="356404" y="71036"/>
                      </a:lnTo>
                      <a:lnTo>
                        <a:pt x="427445" y="71036"/>
                      </a:lnTo>
                      <a:lnTo>
                        <a:pt x="499084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807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lnTo>
                        <a:pt x="783849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4" name="Freeform 133">
                  <a:extLst>
                    <a:ext uri="{FF2B5EF4-FFF2-40B4-BE49-F238E27FC236}">
                      <a16:creationId xmlns:a16="http://schemas.microsoft.com/office/drawing/2014/main" id="{7CD9AD7E-3782-84C0-8533-E7211D36AFD9}"/>
                    </a:ext>
                  </a:extLst>
                </p:cNvPr>
                <p:cNvSpPr/>
                <p:nvPr/>
              </p:nvSpPr>
              <p:spPr>
                <a:xfrm>
                  <a:off x="10467642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5" name="Freeform 134">
                  <a:extLst>
                    <a:ext uri="{FF2B5EF4-FFF2-40B4-BE49-F238E27FC236}">
                      <a16:creationId xmlns:a16="http://schemas.microsoft.com/office/drawing/2014/main" id="{F1B8DE29-F8E3-EACB-AA29-A2B6A327BF35}"/>
                    </a:ext>
                  </a:extLst>
                </p:cNvPr>
                <p:cNvSpPr/>
                <p:nvPr/>
              </p:nvSpPr>
              <p:spPr>
                <a:xfrm>
                  <a:off x="10539281" y="1706812"/>
                  <a:ext cx="71041" cy="71035"/>
                </a:xfrm>
                <a:custGeom>
                  <a:avLst/>
                  <a:gdLst>
                    <a:gd name="connsiteX0" fmla="*/ 0 w 71041"/>
                    <a:gd name="connsiteY0" fmla="*/ 0 h 71035"/>
                    <a:gd name="connsiteX1" fmla="*/ 71042 w 71041"/>
                    <a:gd name="connsiteY1" fmla="*/ 0 h 71035"/>
                    <a:gd name="connsiteX2" fmla="*/ 71042 w 71041"/>
                    <a:gd name="connsiteY2" fmla="*/ 71036 h 71035"/>
                    <a:gd name="connsiteX3" fmla="*/ 0 w 71041"/>
                    <a:gd name="connsiteY3" fmla="*/ 71036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041" h="71035">
                      <a:moveTo>
                        <a:pt x="0" y="0"/>
                      </a:moveTo>
                      <a:lnTo>
                        <a:pt x="71042" y="0"/>
                      </a:lnTo>
                      <a:lnTo>
                        <a:pt x="71042" y="71036"/>
                      </a:lnTo>
                      <a:lnTo>
                        <a:pt x="0" y="71036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36" name="Freeform 135">
                  <a:extLst>
                    <a:ext uri="{FF2B5EF4-FFF2-40B4-BE49-F238E27FC236}">
                      <a16:creationId xmlns:a16="http://schemas.microsoft.com/office/drawing/2014/main" id="{8E739DDD-9D95-D4E2-0769-DC9D2CD5E325}"/>
                    </a:ext>
                  </a:extLst>
                </p:cNvPr>
                <p:cNvSpPr/>
                <p:nvPr/>
              </p:nvSpPr>
              <p:spPr>
                <a:xfrm>
                  <a:off x="10610323" y="1706812"/>
                  <a:ext cx="854890" cy="71035"/>
                </a:xfrm>
                <a:custGeom>
                  <a:avLst/>
                  <a:gdLst>
                    <a:gd name="connsiteX0" fmla="*/ 783849 w 854890"/>
                    <a:gd name="connsiteY0" fmla="*/ 0 h 71035"/>
                    <a:gd name="connsiteX1" fmla="*/ 712210 w 854890"/>
                    <a:gd name="connsiteY1" fmla="*/ 0 h 71035"/>
                    <a:gd name="connsiteX2" fmla="*/ 641168 w 854890"/>
                    <a:gd name="connsiteY2" fmla="*/ 0 h 71035"/>
                    <a:gd name="connsiteX3" fmla="*/ 570126 w 854890"/>
                    <a:gd name="connsiteY3" fmla="*/ 0 h 71035"/>
                    <a:gd name="connsiteX4" fmla="*/ 498487 w 854890"/>
                    <a:gd name="connsiteY4" fmla="*/ 0 h 71035"/>
                    <a:gd name="connsiteX5" fmla="*/ 427446 w 854890"/>
                    <a:gd name="connsiteY5" fmla="*/ 0 h 71035"/>
                    <a:gd name="connsiteX6" fmla="*/ 356404 w 854890"/>
                    <a:gd name="connsiteY6" fmla="*/ 0 h 71035"/>
                    <a:gd name="connsiteX7" fmla="*/ 284765 w 854890"/>
                    <a:gd name="connsiteY7" fmla="*/ 0 h 71035"/>
                    <a:gd name="connsiteX8" fmla="*/ 213723 w 854890"/>
                    <a:gd name="connsiteY8" fmla="*/ 0 h 71035"/>
                    <a:gd name="connsiteX9" fmla="*/ 142681 w 854890"/>
                    <a:gd name="connsiteY9" fmla="*/ 0 h 71035"/>
                    <a:gd name="connsiteX10" fmla="*/ 71042 w 854890"/>
                    <a:gd name="connsiteY10" fmla="*/ 0 h 71035"/>
                    <a:gd name="connsiteX11" fmla="*/ 0 w 854890"/>
                    <a:gd name="connsiteY11" fmla="*/ 0 h 71035"/>
                    <a:gd name="connsiteX12" fmla="*/ 0 w 854890"/>
                    <a:gd name="connsiteY12" fmla="*/ 71036 h 71035"/>
                    <a:gd name="connsiteX13" fmla="*/ 71042 w 854890"/>
                    <a:gd name="connsiteY13" fmla="*/ 71036 h 71035"/>
                    <a:gd name="connsiteX14" fmla="*/ 142681 w 854890"/>
                    <a:gd name="connsiteY14" fmla="*/ 71036 h 71035"/>
                    <a:gd name="connsiteX15" fmla="*/ 213723 w 854890"/>
                    <a:gd name="connsiteY15" fmla="*/ 71036 h 71035"/>
                    <a:gd name="connsiteX16" fmla="*/ 284765 w 854890"/>
                    <a:gd name="connsiteY16" fmla="*/ 71036 h 71035"/>
                    <a:gd name="connsiteX17" fmla="*/ 356404 w 854890"/>
                    <a:gd name="connsiteY17" fmla="*/ 71036 h 71035"/>
                    <a:gd name="connsiteX18" fmla="*/ 427446 w 854890"/>
                    <a:gd name="connsiteY18" fmla="*/ 71036 h 71035"/>
                    <a:gd name="connsiteX19" fmla="*/ 498487 w 854890"/>
                    <a:gd name="connsiteY19" fmla="*/ 71036 h 71035"/>
                    <a:gd name="connsiteX20" fmla="*/ 570126 w 854890"/>
                    <a:gd name="connsiteY20" fmla="*/ 71036 h 71035"/>
                    <a:gd name="connsiteX21" fmla="*/ 641168 w 854890"/>
                    <a:gd name="connsiteY21" fmla="*/ 71036 h 71035"/>
                    <a:gd name="connsiteX22" fmla="*/ 712210 w 854890"/>
                    <a:gd name="connsiteY22" fmla="*/ 71036 h 71035"/>
                    <a:gd name="connsiteX23" fmla="*/ 783849 w 854890"/>
                    <a:gd name="connsiteY23" fmla="*/ 71036 h 71035"/>
                    <a:gd name="connsiteX24" fmla="*/ 854891 w 854890"/>
                    <a:gd name="connsiteY24" fmla="*/ 71036 h 71035"/>
                    <a:gd name="connsiteX25" fmla="*/ 854891 w 854890"/>
                    <a:gd name="connsiteY25" fmla="*/ 0 h 71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54890" h="71035">
                      <a:moveTo>
                        <a:pt x="783849" y="0"/>
                      </a:moveTo>
                      <a:lnTo>
                        <a:pt x="712210" y="0"/>
                      </a:lnTo>
                      <a:lnTo>
                        <a:pt x="641168" y="0"/>
                      </a:lnTo>
                      <a:lnTo>
                        <a:pt x="570126" y="0"/>
                      </a:lnTo>
                      <a:lnTo>
                        <a:pt x="498487" y="0"/>
                      </a:lnTo>
                      <a:lnTo>
                        <a:pt x="427446" y="0"/>
                      </a:lnTo>
                      <a:lnTo>
                        <a:pt x="356404" y="0"/>
                      </a:lnTo>
                      <a:lnTo>
                        <a:pt x="284765" y="0"/>
                      </a:lnTo>
                      <a:lnTo>
                        <a:pt x="213723" y="0"/>
                      </a:lnTo>
                      <a:lnTo>
                        <a:pt x="142681" y="0"/>
                      </a:lnTo>
                      <a:lnTo>
                        <a:pt x="71042" y="0"/>
                      </a:lnTo>
                      <a:lnTo>
                        <a:pt x="0" y="0"/>
                      </a:lnTo>
                      <a:lnTo>
                        <a:pt x="0" y="71036"/>
                      </a:lnTo>
                      <a:lnTo>
                        <a:pt x="71042" y="71036"/>
                      </a:lnTo>
                      <a:lnTo>
                        <a:pt x="142681" y="71036"/>
                      </a:lnTo>
                      <a:lnTo>
                        <a:pt x="213723" y="71036"/>
                      </a:lnTo>
                      <a:lnTo>
                        <a:pt x="284765" y="71036"/>
                      </a:lnTo>
                      <a:lnTo>
                        <a:pt x="356404" y="71036"/>
                      </a:lnTo>
                      <a:lnTo>
                        <a:pt x="427446" y="71036"/>
                      </a:lnTo>
                      <a:lnTo>
                        <a:pt x="498487" y="71036"/>
                      </a:lnTo>
                      <a:lnTo>
                        <a:pt x="570126" y="71036"/>
                      </a:lnTo>
                      <a:lnTo>
                        <a:pt x="641168" y="71036"/>
                      </a:lnTo>
                      <a:lnTo>
                        <a:pt x="712210" y="71036"/>
                      </a:lnTo>
                      <a:lnTo>
                        <a:pt x="783849" y="71036"/>
                      </a:lnTo>
                      <a:lnTo>
                        <a:pt x="854891" y="71036"/>
                      </a:lnTo>
                      <a:lnTo>
                        <a:pt x="854891" y="0"/>
                      </a:lnTo>
                      <a:close/>
                    </a:path>
                  </a:pathLst>
                </a:custGeom>
                <a:solidFill>
                  <a:srgbClr val="000600"/>
                </a:solidFill>
                <a:ln w="59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</p:grpSp>
        </p:grpSp>
        <p:sp>
          <p:nvSpPr>
            <p:cNvPr id="140" name="Content Placeholder 4">
              <a:extLst>
                <a:ext uri="{FF2B5EF4-FFF2-40B4-BE49-F238E27FC236}">
                  <a16:creationId xmlns:a16="http://schemas.microsoft.com/office/drawing/2014/main" id="{8A870C8B-B8D5-45AF-6154-DB54CE46D334}"/>
                </a:ext>
              </a:extLst>
            </p:cNvPr>
            <p:cNvSpPr txBox="1">
              <a:spLocks/>
            </p:cNvSpPr>
            <p:nvPr/>
          </p:nvSpPr>
          <p:spPr>
            <a:xfrm>
              <a:off x="6763962" y="2439783"/>
              <a:ext cx="4409273" cy="3379359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468000" indent="-4680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00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32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4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6000" indent="-4320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2"/>
                </a:buClr>
                <a:buFontTx/>
                <a:buBlip>
                  <a:blip r:embed="rId2">
                    <a:extLst>
                      <a:ext uri="{96DAC541-7B7A-43D3-8B79-37D633B846F1}">
                        <asvg:svgBlip xmlns:asvg="http://schemas.microsoft.com/office/drawing/2016/SVG/main" r:embed="rId3"/>
                      </a:ext>
                    </a:extLst>
                  </a:blip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Islands = ranges of consecutive values</a:t>
              </a:r>
            </a:p>
            <a:p>
              <a:pPr marL="266700" indent="-266700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bg1"/>
                  </a:solidFill>
                </a:rPr>
                <a:t>how long was someone visiting a website, and did they return?</a:t>
              </a:r>
            </a:p>
            <a:p>
              <a:pPr marL="266700" indent="-266700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bg1"/>
                  </a:solidFill>
                </a:rPr>
                <a:t>was an employee sick for longer than a day? Did the sick period surpass a certain limit, so they’re now on extended sick leave?</a:t>
              </a:r>
            </a:p>
            <a:p>
              <a:pPr marL="266700" indent="-266700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bg1"/>
                  </a:solidFill>
                </a:rPr>
                <a:t>how long was a consultant allocated to a project?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322805E-D8C6-A099-E262-8E8681832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ps &amp; islands problem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896FC0-CBC6-41D4-B9B3-FC133E586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47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Right 8">
            <a:extLst>
              <a:ext uri="{FF2B5EF4-FFF2-40B4-BE49-F238E27FC236}">
                <a16:creationId xmlns:a16="http://schemas.microsoft.com/office/drawing/2014/main" id="{FB865650-8627-CE14-97A2-C86D89FEEF0E}"/>
              </a:ext>
            </a:extLst>
          </p:cNvPr>
          <p:cNvSpPr/>
          <p:nvPr/>
        </p:nvSpPr>
        <p:spPr>
          <a:xfrm>
            <a:off x="4196641" y="3470976"/>
            <a:ext cx="755196" cy="642257"/>
          </a:xfrm>
          <a:prstGeom prst="rightArrow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FB6EA4-279C-0B49-FA92-7C7A5BCBA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ps example</a:t>
            </a:r>
            <a:endParaRPr lang="nl-BE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E1B4196B-5A73-5BCE-3AE8-4AAAA62D3D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9718470"/>
              </p:ext>
            </p:extLst>
          </p:nvPr>
        </p:nvGraphicFramePr>
        <p:xfrm>
          <a:off x="960861" y="1818526"/>
          <a:ext cx="3235779" cy="3947160"/>
        </p:xfrm>
        <a:graphic>
          <a:graphicData uri="http://schemas.openxmlformats.org/drawingml/2006/table">
            <a:tbl>
              <a:tblPr/>
              <a:tblGrid>
                <a:gridCol w="650422">
                  <a:extLst>
                    <a:ext uri="{9D8B030D-6E8A-4147-A177-3AD203B41FA5}">
                      <a16:colId xmlns:a16="http://schemas.microsoft.com/office/drawing/2014/main" val="1700348573"/>
                    </a:ext>
                  </a:extLst>
                </a:gridCol>
                <a:gridCol w="1398814">
                  <a:extLst>
                    <a:ext uri="{9D8B030D-6E8A-4147-A177-3AD203B41FA5}">
                      <a16:colId xmlns:a16="http://schemas.microsoft.com/office/drawing/2014/main" val="2557005476"/>
                    </a:ext>
                  </a:extLst>
                </a:gridCol>
                <a:gridCol w="1186543">
                  <a:extLst>
                    <a:ext uri="{9D8B030D-6E8A-4147-A177-3AD203B41FA5}">
                      <a16:colId xmlns:a16="http://schemas.microsoft.com/office/drawing/2014/main" val="3870428251"/>
                    </a:ext>
                  </a:extLst>
                </a:gridCol>
              </a:tblGrid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I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ServerNam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DayOnlin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96714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1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661378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2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2973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3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17170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4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789191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5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766752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7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83506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8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97287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9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312338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390359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62539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140597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875921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14759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ADF5E9-F1FB-5E36-2459-0DB6A10C30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000ACA0D-88FA-7DE3-9952-FA481C083D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4849741"/>
              </p:ext>
            </p:extLst>
          </p:nvPr>
        </p:nvGraphicFramePr>
        <p:xfrm>
          <a:off x="5113768" y="2664344"/>
          <a:ext cx="2563586" cy="2255520"/>
        </p:xfrm>
        <a:graphic>
          <a:graphicData uri="http://schemas.openxmlformats.org/drawingml/2006/table">
            <a:tbl>
              <a:tblPr/>
              <a:tblGrid>
                <a:gridCol w="1455966">
                  <a:extLst>
                    <a:ext uri="{9D8B030D-6E8A-4147-A177-3AD203B41FA5}">
                      <a16:colId xmlns:a16="http://schemas.microsoft.com/office/drawing/2014/main" val="2557005476"/>
                    </a:ext>
                  </a:extLst>
                </a:gridCol>
                <a:gridCol w="1107620">
                  <a:extLst>
                    <a:ext uri="{9D8B030D-6E8A-4147-A177-3AD203B41FA5}">
                      <a16:colId xmlns:a16="http://schemas.microsoft.com/office/drawing/2014/main" val="3870428251"/>
                    </a:ext>
                  </a:extLst>
                </a:gridCol>
              </a:tblGrid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ServerNam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DayOfflin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96714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6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661378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2973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17170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789191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766752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83506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972873"/>
                  </a:ext>
                </a:extLst>
              </a:tr>
            </a:tbl>
          </a:graphicData>
        </a:graphic>
      </p:graphicFrame>
      <p:graphicFrame>
        <p:nvGraphicFramePr>
          <p:cNvPr id="11" name="Content Placeholder 7">
            <a:extLst>
              <a:ext uri="{FF2B5EF4-FFF2-40B4-BE49-F238E27FC236}">
                <a16:creationId xmlns:a16="http://schemas.microsoft.com/office/drawing/2014/main" id="{31B28F34-E00C-214A-D2D1-1287E54833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445622"/>
              </p:ext>
            </p:extLst>
          </p:nvPr>
        </p:nvGraphicFramePr>
        <p:xfrm>
          <a:off x="8639086" y="3228225"/>
          <a:ext cx="2755220" cy="1127760"/>
        </p:xfrm>
        <a:graphic>
          <a:graphicData uri="http://schemas.openxmlformats.org/drawingml/2006/table">
            <a:tbl>
              <a:tblPr/>
              <a:tblGrid>
                <a:gridCol w="1455966">
                  <a:extLst>
                    <a:ext uri="{9D8B030D-6E8A-4147-A177-3AD203B41FA5}">
                      <a16:colId xmlns:a16="http://schemas.microsoft.com/office/drawing/2014/main" val="2557005476"/>
                    </a:ext>
                  </a:extLst>
                </a:gridCol>
                <a:gridCol w="1299254">
                  <a:extLst>
                    <a:ext uri="{9D8B030D-6E8A-4147-A177-3AD203B41FA5}">
                      <a16:colId xmlns:a16="http://schemas.microsoft.com/office/drawing/2014/main" val="3870428251"/>
                    </a:ext>
                  </a:extLst>
                </a:gridCol>
              </a:tblGrid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ServerNam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DaysOfflin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96714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661378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2973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171703"/>
                  </a:ext>
                </a:extLst>
              </a:tr>
            </a:tbl>
          </a:graphicData>
        </a:graphic>
      </p:graphicFrame>
      <p:sp>
        <p:nvSpPr>
          <p:cNvPr id="12" name="Arrow: Right 11">
            <a:extLst>
              <a:ext uri="{FF2B5EF4-FFF2-40B4-BE49-F238E27FC236}">
                <a16:creationId xmlns:a16="http://schemas.microsoft.com/office/drawing/2014/main" id="{5E73087F-ADCD-F4DB-ACBC-F36866847D37}"/>
              </a:ext>
            </a:extLst>
          </p:cNvPr>
          <p:cNvSpPr/>
          <p:nvPr/>
        </p:nvSpPr>
        <p:spPr>
          <a:xfrm>
            <a:off x="7677355" y="3429000"/>
            <a:ext cx="780846" cy="642257"/>
          </a:xfrm>
          <a:prstGeom prst="rightArrow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3445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45B2B-4491-1A7D-1AB3-449F267BC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 the next start dat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7628CB-3778-EA43-67B3-21FE06DDB2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ID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urre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next]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LEA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Server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4A558-0A57-D80A-EF40-73DB4DE33D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C4C7EA5-50F5-0362-B036-09BB12F15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5112" y="3138520"/>
            <a:ext cx="2460172" cy="30375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E5A1ADC-C0D1-2836-8CDA-E80D2D706D61}"/>
              </a:ext>
            </a:extLst>
          </p:cNvPr>
          <p:cNvSpPr/>
          <p:nvPr/>
        </p:nvSpPr>
        <p:spPr>
          <a:xfrm>
            <a:off x="2655171" y="4227008"/>
            <a:ext cx="2080114" cy="2143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F2A608-8663-6F8F-CF7F-5720E35D66B8}"/>
              </a:ext>
            </a:extLst>
          </p:cNvPr>
          <p:cNvSpPr/>
          <p:nvPr/>
        </p:nvSpPr>
        <p:spPr>
          <a:xfrm>
            <a:off x="2655171" y="4869265"/>
            <a:ext cx="2080114" cy="2143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DF8682-9739-243C-9937-F6135875912D}"/>
              </a:ext>
            </a:extLst>
          </p:cNvPr>
          <p:cNvSpPr/>
          <p:nvPr/>
        </p:nvSpPr>
        <p:spPr>
          <a:xfrm>
            <a:off x="2655171" y="5511522"/>
            <a:ext cx="2080114" cy="2143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5721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3C83F-19E4-5C27-67DE-691875C3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 gaps &gt; 1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4EAA62-E24B-5FB9-018C-07EF6E6ACD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0299"/>
            <a:ext cx="10515600" cy="4719952"/>
          </a:xfrm>
        </p:spPr>
        <p:txBody>
          <a:bodyPr/>
          <a:lstStyle/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te_lea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b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b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 [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urre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next]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LEA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[Server]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gapStar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TEAD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current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gapEn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TEAD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-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next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gapWidth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TEDIFF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current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TEAD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-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next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b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te_lead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TEDIFF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current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next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D92038-4498-4D15-BE17-834F05FA4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67D953-916D-D141-5775-DD5B999BDF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1827" y="0"/>
            <a:ext cx="2460172" cy="3037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ED13838-987D-7731-E179-E8ED8186966E}"/>
              </a:ext>
            </a:extLst>
          </p:cNvPr>
          <p:cNvSpPr/>
          <p:nvPr/>
        </p:nvSpPr>
        <p:spPr>
          <a:xfrm>
            <a:off x="10111886" y="1088488"/>
            <a:ext cx="2080114" cy="2143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152C9-D4A6-7AE8-C3FF-04A635F54292}"/>
              </a:ext>
            </a:extLst>
          </p:cNvPr>
          <p:cNvSpPr/>
          <p:nvPr/>
        </p:nvSpPr>
        <p:spPr>
          <a:xfrm>
            <a:off x="10111886" y="1730745"/>
            <a:ext cx="2080114" cy="2143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B45B87-22DD-2110-2E40-B3AF88FE36F4}"/>
              </a:ext>
            </a:extLst>
          </p:cNvPr>
          <p:cNvSpPr/>
          <p:nvPr/>
        </p:nvSpPr>
        <p:spPr>
          <a:xfrm>
            <a:off x="10111886" y="2373002"/>
            <a:ext cx="2080114" cy="2143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A8FB0C4-D226-85B8-474B-EAB6185DB7A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34"/>
          <a:stretch/>
        </p:blipFill>
        <p:spPr>
          <a:xfrm>
            <a:off x="7178513" y="5105401"/>
            <a:ext cx="3466292" cy="102031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F4C02F3-65FD-DED2-773C-DE4695079D98}"/>
              </a:ext>
            </a:extLst>
          </p:cNvPr>
          <p:cNvSpPr/>
          <p:nvPr/>
        </p:nvSpPr>
        <p:spPr>
          <a:xfrm>
            <a:off x="838199" y="1585173"/>
            <a:ext cx="7924801" cy="1811172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85A461-9BB9-FBAE-C13B-A508B40143D0}"/>
              </a:ext>
            </a:extLst>
          </p:cNvPr>
          <p:cNvSpPr txBox="1"/>
          <p:nvPr/>
        </p:nvSpPr>
        <p:spPr>
          <a:xfrm>
            <a:off x="4800599" y="1098870"/>
            <a:ext cx="3645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ame as previous slid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DE45BA-96BB-1D2E-DCB3-6A59DEF29654}"/>
              </a:ext>
            </a:extLst>
          </p:cNvPr>
          <p:cNvSpPr/>
          <p:nvPr/>
        </p:nvSpPr>
        <p:spPr>
          <a:xfrm>
            <a:off x="838198" y="4899936"/>
            <a:ext cx="5595259" cy="37289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CD6D9-16D3-C4DC-67A8-00C23DD99E32}"/>
              </a:ext>
            </a:extLst>
          </p:cNvPr>
          <p:cNvSpPr txBox="1"/>
          <p:nvPr/>
        </p:nvSpPr>
        <p:spPr>
          <a:xfrm>
            <a:off x="947056" y="5288013"/>
            <a:ext cx="3645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identify the gaps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43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7" grpId="0" animBg="1"/>
      <p:bldP spid="18" grpId="0"/>
      <p:bldP spid="19" grpId="0" animBg="1"/>
      <p:bldP spid="2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9640D0-FB1C-2841-7DD3-847C36C7A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lands example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7FAE29-8CD0-4A64-CBFB-9E30078D2E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29</a:t>
            </a:fld>
            <a:endParaRPr lang="en-US" dirty="0"/>
          </a:p>
        </p:txBody>
      </p:sp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F3768A85-5D69-6462-0ACF-5D0A15D2CA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4630307"/>
              </p:ext>
            </p:extLst>
          </p:nvPr>
        </p:nvGraphicFramePr>
        <p:xfrm>
          <a:off x="1658121" y="1836009"/>
          <a:ext cx="3235779" cy="3947160"/>
        </p:xfrm>
        <a:graphic>
          <a:graphicData uri="http://schemas.openxmlformats.org/drawingml/2006/table">
            <a:tbl>
              <a:tblPr/>
              <a:tblGrid>
                <a:gridCol w="650422">
                  <a:extLst>
                    <a:ext uri="{9D8B030D-6E8A-4147-A177-3AD203B41FA5}">
                      <a16:colId xmlns:a16="http://schemas.microsoft.com/office/drawing/2014/main" val="1700348573"/>
                    </a:ext>
                  </a:extLst>
                </a:gridCol>
                <a:gridCol w="1398814">
                  <a:extLst>
                    <a:ext uri="{9D8B030D-6E8A-4147-A177-3AD203B41FA5}">
                      <a16:colId xmlns:a16="http://schemas.microsoft.com/office/drawing/2014/main" val="2557005476"/>
                    </a:ext>
                  </a:extLst>
                </a:gridCol>
                <a:gridCol w="1186543">
                  <a:extLst>
                    <a:ext uri="{9D8B030D-6E8A-4147-A177-3AD203B41FA5}">
                      <a16:colId xmlns:a16="http://schemas.microsoft.com/office/drawing/2014/main" val="3870428251"/>
                    </a:ext>
                  </a:extLst>
                </a:gridCol>
              </a:tblGrid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I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ServerNam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DayOnlin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96714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1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661378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2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2973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3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17170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4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789191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5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766752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7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83506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8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97287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9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312338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390359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62539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140597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875921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147598"/>
                  </a:ext>
                </a:extLst>
              </a:tr>
            </a:tbl>
          </a:graphicData>
        </a:graphic>
      </p:graphicFrame>
      <p:sp>
        <p:nvSpPr>
          <p:cNvPr id="6" name="Arrow: Right 5">
            <a:extLst>
              <a:ext uri="{FF2B5EF4-FFF2-40B4-BE49-F238E27FC236}">
                <a16:creationId xmlns:a16="http://schemas.microsoft.com/office/drawing/2014/main" id="{9021B5DD-2542-891B-A863-3AFD870923A2}"/>
              </a:ext>
            </a:extLst>
          </p:cNvPr>
          <p:cNvSpPr/>
          <p:nvPr/>
        </p:nvSpPr>
        <p:spPr>
          <a:xfrm>
            <a:off x="4893900" y="3488459"/>
            <a:ext cx="877275" cy="642257"/>
          </a:xfrm>
          <a:prstGeom prst="rightArrow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FF4E2E7A-1744-BBB4-FDF3-0169014246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8522964"/>
              </p:ext>
            </p:extLst>
          </p:nvPr>
        </p:nvGraphicFramePr>
        <p:xfrm>
          <a:off x="6317411" y="3104737"/>
          <a:ext cx="4204403" cy="1409700"/>
        </p:xfrm>
        <a:graphic>
          <a:graphicData uri="http://schemas.openxmlformats.org/drawingml/2006/table">
            <a:tbl>
              <a:tblPr/>
              <a:tblGrid>
                <a:gridCol w="1287032">
                  <a:extLst>
                    <a:ext uri="{9D8B030D-6E8A-4147-A177-3AD203B41FA5}">
                      <a16:colId xmlns:a16="http://schemas.microsoft.com/office/drawing/2014/main" val="2557005476"/>
                    </a:ext>
                  </a:extLst>
                </a:gridCol>
                <a:gridCol w="1284514">
                  <a:extLst>
                    <a:ext uri="{9D8B030D-6E8A-4147-A177-3AD203B41FA5}">
                      <a16:colId xmlns:a16="http://schemas.microsoft.com/office/drawing/2014/main" val="3870428251"/>
                    </a:ext>
                  </a:extLst>
                </a:gridCol>
                <a:gridCol w="1632857">
                  <a:extLst>
                    <a:ext uri="{9D8B030D-6E8A-4147-A177-3AD203B41FA5}">
                      <a16:colId xmlns:a16="http://schemas.microsoft.com/office/drawing/2014/main" val="402792439"/>
                    </a:ext>
                  </a:extLst>
                </a:gridCol>
              </a:tblGrid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ServerNam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StartDat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156082"/>
                          </a:highlight>
                          <a:latin typeface="Aptos Narrow" panose="020B0004020202020204" pitchFamily="34" charset="0"/>
                        </a:rPr>
                        <a:t>EndDate</a:t>
                      </a:r>
                      <a:endParaRPr lang="nl-BE" sz="18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15608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967145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1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5/05/2024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661378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7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9/05/2024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29734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171703"/>
                  </a:ext>
                </a:extLst>
              </a:tr>
              <a:tr h="277542">
                <a:tc>
                  <a:txBody>
                    <a:bodyPr/>
                    <a:lstStyle/>
                    <a:p>
                      <a:pPr algn="l" fontAlgn="b"/>
                      <a:r>
                        <a:rPr lang="nl-BE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yServ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B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/05/20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/05/2024</a:t>
                      </a:r>
                      <a:endParaRPr lang="nl-BE" sz="1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789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661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 dirty="0"/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BA1A7-37C8-FE63-5661-7B8EFD20D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e dense rank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700AB0-8786-60F9-E8AC-EAD8CB55B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DRank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DENSE_RANK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ServerName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 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[Server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8FB1C-2973-978E-E3AB-B56D2E519E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C7DCC1-5947-C15B-1251-1314BEB1D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9703" y="3429000"/>
            <a:ext cx="2014138" cy="3349089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E71690-F27D-0787-6F91-318417926DFE}"/>
              </a:ext>
            </a:extLst>
          </p:cNvPr>
          <p:cNvSpPr txBox="1">
            <a:spLocks/>
          </p:cNvSpPr>
          <p:nvPr/>
        </p:nvSpPr>
        <p:spPr>
          <a:xfrm>
            <a:off x="7393826" y="4348043"/>
            <a:ext cx="2978610" cy="10529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Dense rank =</a:t>
            </a:r>
            <a:br>
              <a:rPr lang="en-US" b="1" dirty="0"/>
            </a:br>
            <a:r>
              <a:rPr lang="en-US" b="1" dirty="0"/>
              <a:t>rank with no gaps, ties have the same rank</a:t>
            </a:r>
          </a:p>
        </p:txBody>
      </p:sp>
    </p:spTree>
    <p:extLst>
      <p:ext uri="{BB962C8B-B14F-4D97-AF65-F5344CB8AC3E}">
        <p14:creationId xmlns:p14="http://schemas.microsoft.com/office/powerpoint/2010/main" val="403212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BA1A7-37C8-FE63-5661-7B8EFD20D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tract rank from dat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700AB0-8786-60F9-E8AC-EAD8CB55B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[Group]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FF00FF"/>
                </a:solidFill>
                <a:latin typeface="Consolas" panose="020B0609020204030204" pitchFamily="49" charset="0"/>
              </a:rPr>
              <a:t>DATEADD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,-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1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DENSE_RANK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OVER</a:t>
            </a:r>
          </a:p>
          <a:p>
            <a:pPr marL="0" indent="0">
              <a:buNone/>
            </a:pP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					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ServerName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[Server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8FB1C-2973-978E-E3AB-B56D2E519E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CEB5C2-65FA-C3DC-550D-28F8FC323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7409" y="3552321"/>
            <a:ext cx="2305993" cy="332957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5D12194-0B33-AB49-D10F-33C831953CE1}"/>
              </a:ext>
            </a:extLst>
          </p:cNvPr>
          <p:cNvSpPr/>
          <p:nvPr/>
        </p:nvSpPr>
        <p:spPr>
          <a:xfrm>
            <a:off x="9315982" y="3812671"/>
            <a:ext cx="948787" cy="1157914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D99DB1-DE8C-B457-1AD3-E2147C2675B9}"/>
              </a:ext>
            </a:extLst>
          </p:cNvPr>
          <p:cNvSpPr/>
          <p:nvPr/>
        </p:nvSpPr>
        <p:spPr>
          <a:xfrm>
            <a:off x="9315982" y="4970585"/>
            <a:ext cx="948787" cy="69869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05919-6927-12EF-3728-B833D093B5B1}"/>
              </a:ext>
            </a:extLst>
          </p:cNvPr>
          <p:cNvSpPr/>
          <p:nvPr/>
        </p:nvSpPr>
        <p:spPr>
          <a:xfrm>
            <a:off x="9315982" y="5690154"/>
            <a:ext cx="948787" cy="653839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DB8A02-D57D-98F9-F7B3-EA2B74A78994}"/>
              </a:ext>
            </a:extLst>
          </p:cNvPr>
          <p:cNvSpPr/>
          <p:nvPr/>
        </p:nvSpPr>
        <p:spPr>
          <a:xfrm>
            <a:off x="9315982" y="6343993"/>
            <a:ext cx="948787" cy="48320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8740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5A9A3-A878-81CA-4C16-DC4F04C3A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gregat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40B4AD-1177-D1C7-D5DB-83FDE66015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1202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cte_groups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b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[Group]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DATEADD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DAY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-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1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DENSE_RANK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OVER</a:t>
            </a:r>
            <a:b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                        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ServerName</a:t>
            </a:r>
            <a:b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     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[Server]</a:t>
            </a:r>
            <a:b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b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StartDate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FF00FF"/>
                </a:solidFill>
                <a:latin typeface="Consolas" panose="020B0609020204030204" pitchFamily="49" charset="0"/>
              </a:rPr>
              <a:t>MIN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EndDate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FF00FF"/>
                </a:solidFill>
                <a:latin typeface="Consolas" panose="020B0609020204030204" pitchFamily="49" charset="0"/>
              </a:rPr>
              <a:t>MAX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DayOnlin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cte_groups</a:t>
            </a:r>
            <a:b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[Group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CDB618-3758-680A-B9FF-CB3589B32B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674961-A499-30FA-4998-7F9D6F15B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8951" y="4630946"/>
            <a:ext cx="3690983" cy="19193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F725E3E-0187-04B7-5D54-7BEF90BF3B54}"/>
              </a:ext>
            </a:extLst>
          </p:cNvPr>
          <p:cNvSpPr/>
          <p:nvPr/>
        </p:nvSpPr>
        <p:spPr>
          <a:xfrm>
            <a:off x="1278083" y="2055088"/>
            <a:ext cx="8661645" cy="2478278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91BFDC-593B-1900-7A0E-B75A7FC8C8F0}"/>
              </a:ext>
            </a:extLst>
          </p:cNvPr>
          <p:cNvSpPr txBox="1"/>
          <p:nvPr/>
        </p:nvSpPr>
        <p:spPr>
          <a:xfrm>
            <a:off x="6616699" y="1496471"/>
            <a:ext cx="3645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ame as previous slid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D30009-F2B6-1685-9858-7D69B0F0A0C8}"/>
              </a:ext>
            </a:extLst>
          </p:cNvPr>
          <p:cNvSpPr/>
          <p:nvPr/>
        </p:nvSpPr>
        <p:spPr>
          <a:xfrm>
            <a:off x="1435098" y="4983667"/>
            <a:ext cx="5595259" cy="76267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8D50B4-5EB9-E741-51B3-D1D322ACE1CB}"/>
              </a:ext>
            </a:extLst>
          </p:cNvPr>
          <p:cNvSpPr txBox="1"/>
          <p:nvPr/>
        </p:nvSpPr>
        <p:spPr>
          <a:xfrm>
            <a:off x="4825575" y="5746156"/>
            <a:ext cx="21138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ggregate to get range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50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  <p:bldP spid="8" grpId="0" animBg="1"/>
      <p:bldP spid="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FD1D-AB83-369C-9D4F-5D0C02C1C6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79627" cy="1903106"/>
          </a:xfrm>
        </p:spPr>
        <p:txBody>
          <a:bodyPr>
            <a:normAutofit/>
          </a:bodyPr>
          <a:lstStyle/>
          <a:p>
            <a:r>
              <a:rPr lang="en-US" dirty="0"/>
              <a:t>Calculating “latency” of a consultan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8845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E037608-8D1A-07EB-202A-0FA4BF8F5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latency?</a:t>
            </a:r>
            <a:endParaRPr lang="nl-BE" dirty="0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01FF82AB-3D1E-631F-0991-6A7BA16B21F4}"/>
              </a:ext>
            </a:extLst>
          </p:cNvPr>
          <p:cNvSpPr txBox="1">
            <a:spLocks/>
          </p:cNvSpPr>
          <p:nvPr/>
        </p:nvSpPr>
        <p:spPr>
          <a:xfrm>
            <a:off x="977153" y="1567886"/>
            <a:ext cx="2281518" cy="5400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Duration in days between</a:t>
            </a:r>
          </a:p>
          <a:p>
            <a:r>
              <a:rPr lang="en-US" dirty="0"/>
              <a:t>their start date and their first project</a:t>
            </a:r>
          </a:p>
          <a:p>
            <a:r>
              <a:rPr lang="en-US" dirty="0"/>
              <a:t>or the end date of a project and the next project</a:t>
            </a:r>
          </a:p>
          <a:p>
            <a:r>
              <a:rPr lang="en-US" dirty="0"/>
              <a:t>“bench time”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2D477-5227-A6EC-3325-44C4542AC4C1}"/>
              </a:ext>
            </a:extLst>
          </p:cNvPr>
          <p:cNvSpPr txBox="1">
            <a:spLocks/>
          </p:cNvSpPr>
          <p:nvPr/>
        </p:nvSpPr>
        <p:spPr>
          <a:xfrm>
            <a:off x="3675529" y="1567886"/>
            <a:ext cx="2281518" cy="5400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We don’t live in an ideal world where a consultant only does one project at a time</a:t>
            </a:r>
            <a:endParaRPr lang="nl-BE" b="1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B954F9DF-E171-140A-551D-5DDC0E91AADF}"/>
              </a:ext>
            </a:extLst>
          </p:cNvPr>
          <p:cNvSpPr txBox="1">
            <a:spLocks/>
          </p:cNvSpPr>
          <p:nvPr/>
        </p:nvSpPr>
        <p:spPr>
          <a:xfrm>
            <a:off x="6373904" y="1567886"/>
            <a:ext cx="2698377" cy="5400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BE" b="1" dirty="0"/>
              <a:t>“Significant </a:t>
            </a:r>
            <a:r>
              <a:rPr lang="en-US" b="1" dirty="0"/>
              <a:t>allocation</a:t>
            </a:r>
            <a:r>
              <a:rPr lang="nl-BE" b="1" dirty="0"/>
              <a:t>”</a:t>
            </a:r>
          </a:p>
          <a:p>
            <a:r>
              <a:rPr lang="en-US" dirty="0"/>
              <a:t>at least 60% allocated (of their work schedule)</a:t>
            </a:r>
          </a:p>
          <a:p>
            <a:r>
              <a:rPr lang="en-US" dirty="0"/>
              <a:t>for at least 15 workdays</a:t>
            </a:r>
          </a:p>
          <a:p>
            <a:r>
              <a:rPr lang="en-US" dirty="0"/>
              <a:t>parameterizable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1492D0B1-5928-3CF1-5E53-3AA8C6BA7EBA}"/>
              </a:ext>
            </a:extLst>
          </p:cNvPr>
          <p:cNvSpPr txBox="1">
            <a:spLocks/>
          </p:cNvSpPr>
          <p:nvPr/>
        </p:nvSpPr>
        <p:spPr>
          <a:xfrm>
            <a:off x="9072282" y="1567886"/>
            <a:ext cx="2281518" cy="5400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Also interested in “zero-latency”</a:t>
            </a:r>
          </a:p>
          <a:p>
            <a:r>
              <a:rPr lang="en-US" dirty="0"/>
              <a:t>consultant goes directly from one project to another</a:t>
            </a:r>
          </a:p>
        </p:txBody>
      </p:sp>
    </p:spTree>
    <p:extLst>
      <p:ext uri="{BB962C8B-B14F-4D97-AF65-F5344CB8AC3E}">
        <p14:creationId xmlns:p14="http://schemas.microsoft.com/office/powerpoint/2010/main" val="99465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2162-C58E-5577-114E-E0EF78DE1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9CE729-679C-C92B-DFB5-96A197500D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ate table with working day indicator</a:t>
            </a:r>
          </a:p>
          <a:p>
            <a:endParaRPr lang="en-US" b="1" dirty="0"/>
          </a:p>
          <a:p>
            <a:r>
              <a:rPr lang="en-US" b="1" dirty="0"/>
              <a:t>Headcount t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which employees are working on which day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gainst which regime?</a:t>
            </a:r>
          </a:p>
          <a:p>
            <a:pPr lvl="1"/>
            <a:endParaRPr lang="en-US" dirty="0"/>
          </a:p>
          <a:p>
            <a:r>
              <a:rPr lang="en-US" b="1" dirty="0"/>
              <a:t>Allocations t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tart and end date of a projec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#days per week allocated</a:t>
            </a:r>
          </a:p>
          <a:p>
            <a:pPr lvl="1"/>
            <a:endParaRPr lang="en-US" dirty="0"/>
          </a:p>
          <a:p>
            <a:r>
              <a:rPr lang="en-US" b="1" dirty="0"/>
              <a:t>HR t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dicates the start date of new employees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BC5D8-7B85-B967-05BF-D902A00CB6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02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9425E-42EC-E949-AD2E-7DC9E9F50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ificant allocations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CB7808-A6D5-CF2E-7024-0FD1E4FD5B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06CD10-160A-3E83-FF7B-10D163D02779}"/>
              </a:ext>
            </a:extLst>
          </p:cNvPr>
          <p:cNvSpPr/>
          <p:nvPr/>
        </p:nvSpPr>
        <p:spPr>
          <a:xfrm>
            <a:off x="2284319" y="2606801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79433F-B6F4-1335-3FD5-41A2B9D97AC0}"/>
              </a:ext>
            </a:extLst>
          </p:cNvPr>
          <p:cNvSpPr/>
          <p:nvPr/>
        </p:nvSpPr>
        <p:spPr>
          <a:xfrm>
            <a:off x="4581205" y="2606801"/>
            <a:ext cx="522514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DD4530-842A-B2F4-1242-5D3AAA7CF7DC}"/>
              </a:ext>
            </a:extLst>
          </p:cNvPr>
          <p:cNvSpPr/>
          <p:nvPr/>
        </p:nvSpPr>
        <p:spPr>
          <a:xfrm>
            <a:off x="6224948" y="2606801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7CF32C-0E5E-47D3-E873-4C9EBBB9DB00}"/>
              </a:ext>
            </a:extLst>
          </p:cNvPr>
          <p:cNvSpPr/>
          <p:nvPr/>
        </p:nvSpPr>
        <p:spPr>
          <a:xfrm>
            <a:off x="8097292" y="2606801"/>
            <a:ext cx="228600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68A433-075F-D58F-3095-C82C99CA1082}"/>
              </a:ext>
            </a:extLst>
          </p:cNvPr>
          <p:cNvSpPr/>
          <p:nvPr/>
        </p:nvSpPr>
        <p:spPr>
          <a:xfrm>
            <a:off x="8407533" y="2606801"/>
            <a:ext cx="14423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5E1F55-66D6-29CE-9233-A7533F044D55}"/>
              </a:ext>
            </a:extLst>
          </p:cNvPr>
          <p:cNvSpPr txBox="1"/>
          <p:nvPr/>
        </p:nvSpPr>
        <p:spPr>
          <a:xfrm>
            <a:off x="2540134" y="1994347"/>
            <a:ext cx="25635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</a:rPr>
              <a:t>island &gt;= 60% 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1560F0C7-EA54-C5B3-E7E2-DB28C10444D3}"/>
              </a:ext>
            </a:extLst>
          </p:cNvPr>
          <p:cNvSpPr/>
          <p:nvPr/>
        </p:nvSpPr>
        <p:spPr>
          <a:xfrm rot="5400000">
            <a:off x="8083684" y="2248047"/>
            <a:ext cx="255816" cy="228600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7A7CFD-1A24-CCE5-D9B0-90F84582CBCB}"/>
              </a:ext>
            </a:extLst>
          </p:cNvPr>
          <p:cNvSpPr txBox="1"/>
          <p:nvPr/>
        </p:nvSpPr>
        <p:spPr>
          <a:xfrm>
            <a:off x="3992778" y="3228945"/>
            <a:ext cx="2986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gap = &lt; 60%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25" name="Left Brace 24">
            <a:extLst>
              <a:ext uri="{FF2B5EF4-FFF2-40B4-BE49-F238E27FC236}">
                <a16:creationId xmlns:a16="http://schemas.microsoft.com/office/drawing/2014/main" id="{605326FC-9014-DE49-9222-880A27879068}"/>
              </a:ext>
            </a:extLst>
          </p:cNvPr>
          <p:cNvSpPr/>
          <p:nvPr/>
        </p:nvSpPr>
        <p:spPr>
          <a:xfrm rot="16200000">
            <a:off x="4252559" y="2956318"/>
            <a:ext cx="210979" cy="446316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F96AEC21-1C08-7BFF-72D7-4709551815C1}"/>
              </a:ext>
            </a:extLst>
          </p:cNvPr>
          <p:cNvSpPr/>
          <p:nvPr/>
        </p:nvSpPr>
        <p:spPr>
          <a:xfrm rot="5400000">
            <a:off x="5536633" y="4210994"/>
            <a:ext cx="877275" cy="64225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995C761-9F8D-6286-205D-B377C1BD2D82}"/>
              </a:ext>
            </a:extLst>
          </p:cNvPr>
          <p:cNvSpPr/>
          <p:nvPr/>
        </p:nvSpPr>
        <p:spPr>
          <a:xfrm>
            <a:off x="2424156" y="5351111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A590F65-CEC9-BB09-50C0-4B768A416820}"/>
              </a:ext>
            </a:extLst>
          </p:cNvPr>
          <p:cNvSpPr/>
          <p:nvPr/>
        </p:nvSpPr>
        <p:spPr>
          <a:xfrm>
            <a:off x="6364785" y="5351111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B17DB7F-F6AC-0427-47FE-B53A213767EA}"/>
              </a:ext>
            </a:extLst>
          </p:cNvPr>
          <p:cNvSpPr/>
          <p:nvPr/>
        </p:nvSpPr>
        <p:spPr>
          <a:xfrm>
            <a:off x="8547370" y="5351111"/>
            <a:ext cx="14423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FAFA381-6F3C-8E8F-C86D-A1D97856B1D0}"/>
              </a:ext>
            </a:extLst>
          </p:cNvPr>
          <p:cNvSpPr txBox="1"/>
          <p:nvPr/>
        </p:nvSpPr>
        <p:spPr>
          <a:xfrm>
            <a:off x="6955336" y="1928745"/>
            <a:ext cx="27562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</a:rPr>
              <a:t>island &lt; 15 WD</a:t>
            </a:r>
            <a:endParaRPr lang="nl-BE" sz="2000" dirty="0">
              <a:solidFill>
                <a:srgbClr val="002060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9F75592-78D3-EC87-3E20-B6AC93F7109E}"/>
              </a:ext>
            </a:extLst>
          </p:cNvPr>
          <p:cNvCxnSpPr>
            <a:cxnSpLocks/>
          </p:cNvCxnSpPr>
          <p:nvPr/>
        </p:nvCxnSpPr>
        <p:spPr>
          <a:xfrm>
            <a:off x="1500548" y="2912655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1190730-E419-7A16-D05E-6A01BAA7E9E1}"/>
              </a:ext>
            </a:extLst>
          </p:cNvPr>
          <p:cNvSpPr txBox="1"/>
          <p:nvPr/>
        </p:nvSpPr>
        <p:spPr>
          <a:xfrm>
            <a:off x="1360711" y="2883351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E3EE261-40D3-C1C9-86A7-FDA65CB67FBC}"/>
              </a:ext>
            </a:extLst>
          </p:cNvPr>
          <p:cNvCxnSpPr>
            <a:cxnSpLocks/>
          </p:cNvCxnSpPr>
          <p:nvPr/>
        </p:nvCxnSpPr>
        <p:spPr>
          <a:xfrm>
            <a:off x="1640385" y="5656965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8F450FCF-EC9B-4831-30DF-D79D35FFFC28}"/>
              </a:ext>
            </a:extLst>
          </p:cNvPr>
          <p:cNvSpPr txBox="1"/>
          <p:nvPr/>
        </p:nvSpPr>
        <p:spPr>
          <a:xfrm>
            <a:off x="1500548" y="5627661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4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3" grpId="0" animBg="1"/>
      <p:bldP spid="36" grpId="0" animBg="1"/>
      <p:bldP spid="38" grpId="0" animBg="1"/>
      <p:bldP spid="40" grpId="0" animBg="1"/>
      <p:bldP spid="41" grpId="0"/>
      <p:bldP spid="3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B60E4-5659-3294-C3FD-9AF0FC233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er latency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47EBA9-A0D8-5DB0-A476-D8D07B4E87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7DC254-7811-E92F-8C53-6D0FC7698F15}"/>
              </a:ext>
            </a:extLst>
          </p:cNvPr>
          <p:cNvSpPr/>
          <p:nvPr/>
        </p:nvSpPr>
        <p:spPr>
          <a:xfrm>
            <a:off x="3619835" y="3294493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7420-E372-4A3B-430B-8FDDABD7E483}"/>
              </a:ext>
            </a:extLst>
          </p:cNvPr>
          <p:cNvSpPr/>
          <p:nvPr/>
        </p:nvSpPr>
        <p:spPr>
          <a:xfrm>
            <a:off x="6899157" y="3294493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B64AEA-B392-830D-3AD6-73A3FD8FF89A}"/>
              </a:ext>
            </a:extLst>
          </p:cNvPr>
          <p:cNvSpPr/>
          <p:nvPr/>
        </p:nvSpPr>
        <p:spPr>
          <a:xfrm>
            <a:off x="9081742" y="3294493"/>
            <a:ext cx="14423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3B1650B-1FA9-ED2C-DE2B-7C62A9407049}"/>
              </a:ext>
            </a:extLst>
          </p:cNvPr>
          <p:cNvCxnSpPr/>
          <p:nvPr/>
        </p:nvCxnSpPr>
        <p:spPr>
          <a:xfrm>
            <a:off x="2719825" y="2954312"/>
            <a:ext cx="0" cy="670519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C1F5B94-3470-71E1-6022-FA3E4A4F6ED3}"/>
              </a:ext>
            </a:extLst>
          </p:cNvPr>
          <p:cNvSpPr txBox="1"/>
          <p:nvPr/>
        </p:nvSpPr>
        <p:spPr>
          <a:xfrm>
            <a:off x="1794538" y="2481310"/>
            <a:ext cx="1850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</a:rPr>
              <a:t>start date</a:t>
            </a:r>
            <a:endParaRPr lang="nl-BE" sz="2000" dirty="0">
              <a:solidFill>
                <a:srgbClr val="002060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B72E340-2143-DB42-0392-112FF0B01A37}"/>
              </a:ext>
            </a:extLst>
          </p:cNvPr>
          <p:cNvCxnSpPr/>
          <p:nvPr/>
        </p:nvCxnSpPr>
        <p:spPr>
          <a:xfrm>
            <a:off x="4663318" y="2642376"/>
            <a:ext cx="0" cy="670519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6CC30FE-ECB5-118D-D5EB-FF063E1CC8E0}"/>
              </a:ext>
            </a:extLst>
          </p:cNvPr>
          <p:cNvSpPr txBox="1"/>
          <p:nvPr/>
        </p:nvSpPr>
        <p:spPr>
          <a:xfrm>
            <a:off x="3092357" y="2097764"/>
            <a:ext cx="346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</a:rPr>
              <a:t>first significant allocation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A623EB-37A5-07CB-AB32-4E3675E11AA4}"/>
              </a:ext>
            </a:extLst>
          </p:cNvPr>
          <p:cNvSpPr txBox="1"/>
          <p:nvPr/>
        </p:nvSpPr>
        <p:spPr>
          <a:xfrm>
            <a:off x="1338794" y="4634492"/>
            <a:ext cx="372227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</a:rPr>
              <a:t>starter latency = duration in WD between start date and start of allocation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5293DB68-944F-A845-6EF5-238D08346D96}"/>
              </a:ext>
            </a:extLst>
          </p:cNvPr>
          <p:cNvSpPr/>
          <p:nvPr/>
        </p:nvSpPr>
        <p:spPr>
          <a:xfrm rot="16200000">
            <a:off x="3052083" y="3939769"/>
            <a:ext cx="235497" cy="900010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8C92E261-4464-1FF8-38CF-8FA7EB08B3FE}"/>
              </a:ext>
            </a:extLst>
          </p:cNvPr>
          <p:cNvCxnSpPr>
            <a:cxnSpLocks/>
          </p:cNvCxnSpPr>
          <p:nvPr/>
        </p:nvCxnSpPr>
        <p:spPr>
          <a:xfrm>
            <a:off x="2174757" y="3627241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6F5700A-828E-EC3B-6F6E-C947F0666190}"/>
              </a:ext>
            </a:extLst>
          </p:cNvPr>
          <p:cNvSpPr txBox="1"/>
          <p:nvPr/>
        </p:nvSpPr>
        <p:spPr>
          <a:xfrm>
            <a:off x="2034920" y="3597937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55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5" grpId="0"/>
      <p:bldP spid="1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9566C-ADCB-3B6D-0FCD-E57A82775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ch latency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AEF566-DD58-6971-441D-08B0D79ECE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C4C8E3-7120-72CA-5748-F12AEC4D30E3}"/>
              </a:ext>
            </a:extLst>
          </p:cNvPr>
          <p:cNvSpPr/>
          <p:nvPr/>
        </p:nvSpPr>
        <p:spPr>
          <a:xfrm>
            <a:off x="2284319" y="2070583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2B2404-3390-54BE-CF92-7DC627A98F80}"/>
              </a:ext>
            </a:extLst>
          </p:cNvPr>
          <p:cNvSpPr/>
          <p:nvPr/>
        </p:nvSpPr>
        <p:spPr>
          <a:xfrm>
            <a:off x="6224948" y="2070583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74BB73-03E8-EC33-33AF-801A8750E568}"/>
              </a:ext>
            </a:extLst>
          </p:cNvPr>
          <p:cNvSpPr/>
          <p:nvPr/>
        </p:nvSpPr>
        <p:spPr>
          <a:xfrm>
            <a:off x="8407533" y="2070583"/>
            <a:ext cx="14423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75FF9EA3-4F65-98A8-84E5-6424C7489FA5}"/>
              </a:ext>
            </a:extLst>
          </p:cNvPr>
          <p:cNvSpPr/>
          <p:nvPr/>
        </p:nvSpPr>
        <p:spPr>
          <a:xfrm rot="5400000">
            <a:off x="5657362" y="2914604"/>
            <a:ext cx="877275" cy="64225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B245D4-E0C3-7044-7894-CB970AECDA2E}"/>
              </a:ext>
            </a:extLst>
          </p:cNvPr>
          <p:cNvSpPr/>
          <p:nvPr/>
        </p:nvSpPr>
        <p:spPr>
          <a:xfrm>
            <a:off x="1525685" y="4068133"/>
            <a:ext cx="783772" cy="315686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5E43D9-94FE-F954-BFB2-7151E54BA80E}"/>
              </a:ext>
            </a:extLst>
          </p:cNvPr>
          <p:cNvSpPr/>
          <p:nvPr/>
        </p:nvSpPr>
        <p:spPr>
          <a:xfrm>
            <a:off x="4160029" y="4068133"/>
            <a:ext cx="2090057" cy="315686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A4CC92F-61ED-86D2-3529-71F6844A718F}"/>
              </a:ext>
            </a:extLst>
          </p:cNvPr>
          <p:cNvSpPr/>
          <p:nvPr/>
        </p:nvSpPr>
        <p:spPr>
          <a:xfrm>
            <a:off x="7431410" y="4068133"/>
            <a:ext cx="1001261" cy="315686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95D67E-42F9-B3D6-0294-8E931C7BD0EC}"/>
              </a:ext>
            </a:extLst>
          </p:cNvPr>
          <p:cNvSpPr/>
          <p:nvPr/>
        </p:nvSpPr>
        <p:spPr>
          <a:xfrm>
            <a:off x="9882544" y="4068133"/>
            <a:ext cx="279552" cy="315686"/>
          </a:xfrm>
          <a:prstGeom prst="rect">
            <a:avLst/>
          </a:prstGeom>
          <a:solidFill>
            <a:srgbClr val="00206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9128239-46AE-DF77-2F6E-EA8BFD900F31}"/>
              </a:ext>
            </a:extLst>
          </p:cNvPr>
          <p:cNvCxnSpPr>
            <a:cxnSpLocks/>
          </p:cNvCxnSpPr>
          <p:nvPr/>
        </p:nvCxnSpPr>
        <p:spPr>
          <a:xfrm>
            <a:off x="2215299" y="4398471"/>
            <a:ext cx="543805" cy="786271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C8474AFE-8C06-0C05-5590-A9DA4A530DD2}"/>
              </a:ext>
            </a:extLst>
          </p:cNvPr>
          <p:cNvSpPr txBox="1"/>
          <p:nvPr/>
        </p:nvSpPr>
        <p:spPr>
          <a:xfrm>
            <a:off x="2800783" y="4660081"/>
            <a:ext cx="8763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ignore if</a:t>
            </a:r>
          </a:p>
          <a:p>
            <a:pPr marL="227013" indent="-214313">
              <a:buFont typeface="Arial" panose="020B0604020202020204" pitchFamily="34" charset="0"/>
              <a:buChar char="•"/>
            </a:pPr>
            <a:r>
              <a:rPr lang="en-US" sz="2000" dirty="0"/>
              <a:t>already calculated in starter latency</a:t>
            </a:r>
          </a:p>
          <a:p>
            <a:pPr marL="227013" indent="-214313">
              <a:buFont typeface="Arial" panose="020B0604020202020204" pitchFamily="34" charset="0"/>
              <a:buChar char="•"/>
            </a:pPr>
            <a:r>
              <a:rPr lang="nl-BE" sz="2000" dirty="0"/>
              <a:t>data is incomplete </a:t>
            </a:r>
            <a:r>
              <a:rPr lang="en-US" sz="2000" dirty="0"/>
              <a:t>as it may</a:t>
            </a:r>
            <a:br>
              <a:rPr lang="en-US" sz="2000" dirty="0"/>
            </a:br>
            <a:r>
              <a:rPr lang="en-US" sz="2000" dirty="0"/>
              <a:t>result in incorrect latency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D447EB0-C016-4735-84FF-0D7776499C5F}"/>
              </a:ext>
            </a:extLst>
          </p:cNvPr>
          <p:cNvCxnSpPr>
            <a:cxnSpLocks/>
          </p:cNvCxnSpPr>
          <p:nvPr/>
        </p:nvCxnSpPr>
        <p:spPr>
          <a:xfrm>
            <a:off x="1500548" y="2389884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E4B9677-255A-5DF6-6EF2-B185A9257E37}"/>
              </a:ext>
            </a:extLst>
          </p:cNvPr>
          <p:cNvSpPr txBox="1"/>
          <p:nvPr/>
        </p:nvSpPr>
        <p:spPr>
          <a:xfrm>
            <a:off x="1360711" y="2360580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6438EDF-4AA8-FD75-EC0E-6D55CB9F8195}"/>
              </a:ext>
            </a:extLst>
          </p:cNvPr>
          <p:cNvCxnSpPr>
            <a:cxnSpLocks/>
          </p:cNvCxnSpPr>
          <p:nvPr/>
        </p:nvCxnSpPr>
        <p:spPr>
          <a:xfrm>
            <a:off x="1525686" y="4387434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CBC5C4B-C8E3-2CC9-9542-36CB05CCFF1E}"/>
              </a:ext>
            </a:extLst>
          </p:cNvPr>
          <p:cNvSpPr txBox="1"/>
          <p:nvPr/>
        </p:nvSpPr>
        <p:spPr>
          <a:xfrm>
            <a:off x="1385849" y="4358130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20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 animBg="1"/>
      <p:bldP spid="23" grpId="0"/>
      <p:bldP spid="11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20A87-02D6-721D-0463-203711F23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latency aka good job!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F34154-228C-FFA2-B289-7E3C77132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30958B-37CC-1B75-3943-BB10E81DA847}"/>
              </a:ext>
            </a:extLst>
          </p:cNvPr>
          <p:cNvSpPr/>
          <p:nvPr/>
        </p:nvSpPr>
        <p:spPr>
          <a:xfrm>
            <a:off x="2216766" y="2232443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3FBC0A7-3F15-4EE4-8EAA-3A94C62B4CC2}"/>
              </a:ext>
            </a:extLst>
          </p:cNvPr>
          <p:cNvSpPr/>
          <p:nvPr/>
        </p:nvSpPr>
        <p:spPr>
          <a:xfrm>
            <a:off x="4067338" y="2232443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86427E-A57F-C78F-B73A-2C7861181F49}"/>
              </a:ext>
            </a:extLst>
          </p:cNvPr>
          <p:cNvSpPr/>
          <p:nvPr/>
        </p:nvSpPr>
        <p:spPr>
          <a:xfrm>
            <a:off x="6096000" y="2232443"/>
            <a:ext cx="14423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B1CE48-6B6C-2877-1ACC-173DE14514BF}"/>
              </a:ext>
            </a:extLst>
          </p:cNvPr>
          <p:cNvSpPr/>
          <p:nvPr/>
        </p:nvSpPr>
        <p:spPr>
          <a:xfrm>
            <a:off x="7538357" y="2232443"/>
            <a:ext cx="522514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F476D0-B180-6E32-192A-7A1CDC777BCE}"/>
              </a:ext>
            </a:extLst>
          </p:cNvPr>
          <p:cNvSpPr txBox="1"/>
          <p:nvPr/>
        </p:nvSpPr>
        <p:spPr>
          <a:xfrm>
            <a:off x="3060408" y="1534990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614495C2-911A-E5E9-D22C-E94252200F65}"/>
              </a:ext>
            </a:extLst>
          </p:cNvPr>
          <p:cNvSpPr/>
          <p:nvPr/>
        </p:nvSpPr>
        <p:spPr>
          <a:xfrm rot="5400000">
            <a:off x="3601972" y="535912"/>
            <a:ext cx="255816" cy="3026229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1B2972-2F37-604D-B13D-502BF432E3DB}"/>
              </a:ext>
            </a:extLst>
          </p:cNvPr>
          <p:cNvSpPr txBox="1"/>
          <p:nvPr/>
        </p:nvSpPr>
        <p:spPr>
          <a:xfrm>
            <a:off x="6460671" y="1534990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F2AFEA9D-A05A-E766-4B6D-88E2669D0DD1}"/>
              </a:ext>
            </a:extLst>
          </p:cNvPr>
          <p:cNvSpPr/>
          <p:nvPr/>
        </p:nvSpPr>
        <p:spPr>
          <a:xfrm rot="5400000">
            <a:off x="6963044" y="1071249"/>
            <a:ext cx="255816" cy="1939837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E07908CE-0156-2C59-63D0-6C666CA8086A}"/>
              </a:ext>
            </a:extLst>
          </p:cNvPr>
          <p:cNvSpPr/>
          <p:nvPr/>
        </p:nvSpPr>
        <p:spPr>
          <a:xfrm rot="5400000">
            <a:off x="5834389" y="2507623"/>
            <a:ext cx="523219" cy="64225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FA0AC5-9557-2365-FAC1-8281622FEED2}"/>
              </a:ext>
            </a:extLst>
          </p:cNvPr>
          <p:cNvSpPr/>
          <p:nvPr/>
        </p:nvSpPr>
        <p:spPr>
          <a:xfrm>
            <a:off x="2216766" y="3891516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137A5FC-9028-767C-E252-34E73C59E451}"/>
              </a:ext>
            </a:extLst>
          </p:cNvPr>
          <p:cNvSpPr/>
          <p:nvPr/>
        </p:nvSpPr>
        <p:spPr>
          <a:xfrm>
            <a:off x="4067338" y="3891516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3E69ABB-F0E5-6ED6-6921-01847F316C0B}"/>
              </a:ext>
            </a:extLst>
          </p:cNvPr>
          <p:cNvSpPr/>
          <p:nvPr/>
        </p:nvSpPr>
        <p:spPr>
          <a:xfrm>
            <a:off x="6096000" y="3891516"/>
            <a:ext cx="14423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2E0732B-CEDE-A665-92D9-A4174E494C84}"/>
              </a:ext>
            </a:extLst>
          </p:cNvPr>
          <p:cNvSpPr/>
          <p:nvPr/>
        </p:nvSpPr>
        <p:spPr>
          <a:xfrm>
            <a:off x="7538357" y="3891516"/>
            <a:ext cx="522514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09F6B6E-98CF-2FE6-8263-4B83BAC97C88}"/>
              </a:ext>
            </a:extLst>
          </p:cNvPr>
          <p:cNvSpPr txBox="1"/>
          <p:nvPr/>
        </p:nvSpPr>
        <p:spPr>
          <a:xfrm>
            <a:off x="2541933" y="3210397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23" name="Left Brace 22">
            <a:extLst>
              <a:ext uri="{FF2B5EF4-FFF2-40B4-BE49-F238E27FC236}">
                <a16:creationId xmlns:a16="http://schemas.microsoft.com/office/drawing/2014/main" id="{04D4C5B1-2E23-F627-DA5B-6892070590C6}"/>
              </a:ext>
            </a:extLst>
          </p:cNvPr>
          <p:cNvSpPr/>
          <p:nvPr/>
        </p:nvSpPr>
        <p:spPr>
          <a:xfrm rot="5400000">
            <a:off x="3014144" y="2783715"/>
            <a:ext cx="255816" cy="1850572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99FC6E5-F95A-E837-B340-7AF0C11C35FE}"/>
              </a:ext>
            </a:extLst>
          </p:cNvPr>
          <p:cNvSpPr txBox="1"/>
          <p:nvPr/>
        </p:nvSpPr>
        <p:spPr>
          <a:xfrm>
            <a:off x="6199414" y="3210397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25" name="Left Brace 24">
            <a:extLst>
              <a:ext uri="{FF2B5EF4-FFF2-40B4-BE49-F238E27FC236}">
                <a16:creationId xmlns:a16="http://schemas.microsoft.com/office/drawing/2014/main" id="{12E83BEF-7B94-F165-B4AC-70090C17133F}"/>
              </a:ext>
            </a:extLst>
          </p:cNvPr>
          <p:cNvSpPr/>
          <p:nvPr/>
        </p:nvSpPr>
        <p:spPr>
          <a:xfrm rot="5400000">
            <a:off x="6701787" y="3000339"/>
            <a:ext cx="255816" cy="1417323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3C4955-3409-18D4-436C-2855E5A4B480}"/>
              </a:ext>
            </a:extLst>
          </p:cNvPr>
          <p:cNvSpPr txBox="1"/>
          <p:nvPr/>
        </p:nvSpPr>
        <p:spPr>
          <a:xfrm>
            <a:off x="4089442" y="3210397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4A7E7F63-3D9E-5008-D0A5-1EDF709E7E7A}"/>
              </a:ext>
            </a:extLst>
          </p:cNvPr>
          <p:cNvSpPr/>
          <p:nvPr/>
        </p:nvSpPr>
        <p:spPr>
          <a:xfrm rot="5400000">
            <a:off x="4522684" y="3116598"/>
            <a:ext cx="255816" cy="1184806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42432A4-2337-7C63-6CAE-B84FFEBAAF55}"/>
              </a:ext>
            </a:extLst>
          </p:cNvPr>
          <p:cNvSpPr txBox="1"/>
          <p:nvPr/>
        </p:nvSpPr>
        <p:spPr>
          <a:xfrm>
            <a:off x="7391399" y="3210397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29" name="Left Brace 28">
            <a:extLst>
              <a:ext uri="{FF2B5EF4-FFF2-40B4-BE49-F238E27FC236}">
                <a16:creationId xmlns:a16="http://schemas.microsoft.com/office/drawing/2014/main" id="{B2154073-C18E-3D64-86FF-8A4BD944A2B7}"/>
              </a:ext>
            </a:extLst>
          </p:cNvPr>
          <p:cNvSpPr/>
          <p:nvPr/>
        </p:nvSpPr>
        <p:spPr>
          <a:xfrm rot="5400000">
            <a:off x="7671706" y="3447744"/>
            <a:ext cx="255816" cy="522513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57C86399-AE03-38FE-F84C-74DA2534BAB6}"/>
              </a:ext>
            </a:extLst>
          </p:cNvPr>
          <p:cNvSpPr/>
          <p:nvPr/>
        </p:nvSpPr>
        <p:spPr>
          <a:xfrm rot="5400000">
            <a:off x="5834388" y="4147683"/>
            <a:ext cx="523219" cy="64225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E08059-95F1-FD2A-E734-072A475F7739}"/>
              </a:ext>
            </a:extLst>
          </p:cNvPr>
          <p:cNvSpPr/>
          <p:nvPr/>
        </p:nvSpPr>
        <p:spPr>
          <a:xfrm>
            <a:off x="2216766" y="5412319"/>
            <a:ext cx="1850572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00E038-4A0B-7F41-3D18-7AE924CA5B90}"/>
              </a:ext>
            </a:extLst>
          </p:cNvPr>
          <p:cNvSpPr/>
          <p:nvPr/>
        </p:nvSpPr>
        <p:spPr>
          <a:xfrm>
            <a:off x="4067338" y="5412319"/>
            <a:ext cx="1175657" cy="3156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6DFC64F-B5D6-3625-C31F-9BA1F3569FF0}"/>
              </a:ext>
            </a:extLst>
          </p:cNvPr>
          <p:cNvSpPr txBox="1"/>
          <p:nvPr/>
        </p:nvSpPr>
        <p:spPr>
          <a:xfrm>
            <a:off x="2541933" y="4729994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38" name="Left Brace 37">
            <a:extLst>
              <a:ext uri="{FF2B5EF4-FFF2-40B4-BE49-F238E27FC236}">
                <a16:creationId xmlns:a16="http://schemas.microsoft.com/office/drawing/2014/main" id="{0A3BED1C-13CF-5182-CBD5-C4BA4421BE8B}"/>
              </a:ext>
            </a:extLst>
          </p:cNvPr>
          <p:cNvSpPr/>
          <p:nvPr/>
        </p:nvSpPr>
        <p:spPr>
          <a:xfrm rot="5400000">
            <a:off x="3014144" y="4304518"/>
            <a:ext cx="255816" cy="1850572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ABCBDBA-F56B-D539-28A1-6C4D09C7F2CF}"/>
              </a:ext>
            </a:extLst>
          </p:cNvPr>
          <p:cNvSpPr txBox="1"/>
          <p:nvPr/>
        </p:nvSpPr>
        <p:spPr>
          <a:xfrm>
            <a:off x="4089442" y="4729994"/>
            <a:ext cx="1338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island</a:t>
            </a:r>
            <a:endParaRPr lang="nl-BE" sz="2000" dirty="0">
              <a:solidFill>
                <a:srgbClr val="002060"/>
              </a:solidFill>
            </a:endParaRPr>
          </a:p>
        </p:txBody>
      </p:sp>
      <p:sp>
        <p:nvSpPr>
          <p:cNvPr id="42" name="Left Brace 41">
            <a:extLst>
              <a:ext uri="{FF2B5EF4-FFF2-40B4-BE49-F238E27FC236}">
                <a16:creationId xmlns:a16="http://schemas.microsoft.com/office/drawing/2014/main" id="{A687A415-58A4-AE03-2F54-54746E4679D3}"/>
              </a:ext>
            </a:extLst>
          </p:cNvPr>
          <p:cNvSpPr/>
          <p:nvPr/>
        </p:nvSpPr>
        <p:spPr>
          <a:xfrm rot="5400000">
            <a:off x="4522684" y="4637401"/>
            <a:ext cx="255816" cy="1184806"/>
          </a:xfrm>
          <a:prstGeom prst="lef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66ACC162-50D7-0C49-4743-ADA965B6FBC2}"/>
              </a:ext>
            </a:extLst>
          </p:cNvPr>
          <p:cNvCxnSpPr>
            <a:cxnSpLocks/>
            <a:endCxn id="33" idx="3"/>
          </p:cNvCxnSpPr>
          <p:nvPr/>
        </p:nvCxnSpPr>
        <p:spPr>
          <a:xfrm flipH="1">
            <a:off x="4067338" y="5344811"/>
            <a:ext cx="3017080" cy="225351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C57B84F9-E567-0F8B-0B76-B11954091972}"/>
              </a:ext>
            </a:extLst>
          </p:cNvPr>
          <p:cNvSpPr txBox="1"/>
          <p:nvPr/>
        </p:nvSpPr>
        <p:spPr>
          <a:xfrm>
            <a:off x="7092441" y="5077991"/>
            <a:ext cx="48044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2060"/>
                </a:solidFill>
              </a:rPr>
              <a:t>the </a:t>
            </a:r>
            <a:r>
              <a:rPr lang="en-US" sz="2000" strike="sngStrike" dirty="0">
                <a:solidFill>
                  <a:srgbClr val="002060"/>
                </a:solidFill>
              </a:rPr>
              <a:t>droid</a:t>
            </a:r>
            <a:r>
              <a:rPr lang="en-US" sz="2000" dirty="0">
                <a:solidFill>
                  <a:srgbClr val="002060"/>
                </a:solidFill>
              </a:rPr>
              <a:t> date we’re looking for</a:t>
            </a:r>
            <a:endParaRPr lang="nl-BE" sz="2000" dirty="0">
              <a:solidFill>
                <a:srgbClr val="002060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53C591C-EC82-2763-9D3C-79C41CD7B352}"/>
              </a:ext>
            </a:extLst>
          </p:cNvPr>
          <p:cNvCxnSpPr>
            <a:cxnSpLocks/>
          </p:cNvCxnSpPr>
          <p:nvPr/>
        </p:nvCxnSpPr>
        <p:spPr>
          <a:xfrm>
            <a:off x="1432995" y="2538297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5A6ABAD-EE68-9E23-EB9B-9C81A3D6F66D}"/>
              </a:ext>
            </a:extLst>
          </p:cNvPr>
          <p:cNvSpPr txBox="1"/>
          <p:nvPr/>
        </p:nvSpPr>
        <p:spPr>
          <a:xfrm>
            <a:off x="1293158" y="2508993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87D39CA-44FD-5AB9-C240-F1D8AC087641}"/>
              </a:ext>
            </a:extLst>
          </p:cNvPr>
          <p:cNvCxnSpPr>
            <a:cxnSpLocks/>
          </p:cNvCxnSpPr>
          <p:nvPr/>
        </p:nvCxnSpPr>
        <p:spPr>
          <a:xfrm>
            <a:off x="1432995" y="4197370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B20908C-A17F-C052-9208-40DF91356B5B}"/>
              </a:ext>
            </a:extLst>
          </p:cNvPr>
          <p:cNvSpPr txBox="1"/>
          <p:nvPr/>
        </p:nvSpPr>
        <p:spPr>
          <a:xfrm>
            <a:off x="1293158" y="4168066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E485F7B-34F3-EDEE-A405-95A357622C26}"/>
              </a:ext>
            </a:extLst>
          </p:cNvPr>
          <p:cNvCxnSpPr>
            <a:cxnSpLocks/>
          </p:cNvCxnSpPr>
          <p:nvPr/>
        </p:nvCxnSpPr>
        <p:spPr>
          <a:xfrm>
            <a:off x="1432995" y="5718173"/>
            <a:ext cx="8763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8B7DE1CB-14FB-E66C-C6D4-824C49E0D4F7}"/>
              </a:ext>
            </a:extLst>
          </p:cNvPr>
          <p:cNvSpPr txBox="1"/>
          <p:nvPr/>
        </p:nvSpPr>
        <p:spPr>
          <a:xfrm>
            <a:off x="1293158" y="5688869"/>
            <a:ext cx="1043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time</a:t>
            </a:r>
            <a:endParaRPr lang="nl-BE" sz="2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194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animBg="1"/>
      <p:bldP spid="13" grpId="0"/>
      <p:bldP spid="14" grpId="0" animBg="1"/>
      <p:bldP spid="15" grpId="0" animBg="1"/>
      <p:bldP spid="18" grpId="0" animBg="1"/>
      <p:bldP spid="19" grpId="0" animBg="1"/>
      <p:bldP spid="20" grpId="0" animBg="1"/>
      <p:bldP spid="21" grpId="0" animBg="1"/>
      <p:bldP spid="22" grpId="0"/>
      <p:bldP spid="23" grpId="0" animBg="1"/>
      <p:bldP spid="24" grpId="0"/>
      <p:bldP spid="25" grpId="0" animBg="1"/>
      <p:bldP spid="26" grpId="0"/>
      <p:bldP spid="27" grpId="0" animBg="1"/>
      <p:bldP spid="28" grpId="0"/>
      <p:bldP spid="29" grpId="0" animBg="1"/>
      <p:bldP spid="30" grpId="0" animBg="1"/>
      <p:bldP spid="33" grpId="0" animBg="1"/>
      <p:bldP spid="34" grpId="0" animBg="1"/>
      <p:bldP spid="37" grpId="0"/>
      <p:bldP spid="38" grpId="0" animBg="1"/>
      <p:bldP spid="41" grpId="0"/>
      <p:bldP spid="42" grpId="0" animBg="1"/>
      <p:bldP spid="49" grpId="0"/>
      <p:bldP spid="17" grpId="0"/>
      <p:bldP spid="3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1"/>
          </p:nvPr>
        </p:nvSpPr>
        <p:spPr>
          <a:xfrm>
            <a:off x="6468800" y="660656"/>
            <a:ext cx="4948500" cy="495299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dirty="0"/>
              <a:t>What are window function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B87828-B2A2-4993-4347-4E7ECB9237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59400" y="664932"/>
            <a:ext cx="812799" cy="495299"/>
          </a:xfrm>
        </p:spPr>
        <p:txBody>
          <a:bodyPr>
            <a:normAutofit fontScale="92500" lnSpcReduction="20000"/>
          </a:bodyPr>
          <a:lstStyle/>
          <a:p>
            <a:r>
              <a:rPr lang="nl-NL" dirty="0"/>
              <a:t>0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2BFF1F-D50E-BEE0-A945-4C885AC7AA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8800" y="1647962"/>
            <a:ext cx="4948500" cy="495299"/>
          </a:xfrm>
        </p:spPr>
        <p:txBody>
          <a:bodyPr/>
          <a:lstStyle/>
          <a:p>
            <a:r>
              <a:rPr lang="en-US" dirty="0"/>
              <a:t>Common use cas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4577E1-8CF3-FCE3-9B52-69EC53D5EA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59400" y="1652238"/>
            <a:ext cx="812799" cy="495299"/>
          </a:xfrm>
        </p:spPr>
        <p:txBody>
          <a:bodyPr>
            <a:normAutofit fontScale="92500" lnSpcReduction="20000"/>
          </a:bodyPr>
          <a:lstStyle/>
          <a:p>
            <a:r>
              <a:rPr lang="nl-NL" dirty="0"/>
              <a:t>0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86CBFB-1225-C1CA-9DB8-F9F150F773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68800" y="2635267"/>
            <a:ext cx="4948500" cy="495299"/>
          </a:xfrm>
        </p:spPr>
        <p:txBody>
          <a:bodyPr/>
          <a:lstStyle/>
          <a:p>
            <a:r>
              <a:rPr lang="en-US" dirty="0"/>
              <a:t>The gaps &amp; islands proble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34FDE03-37A7-255B-EC8A-78CA0D108F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59400" y="2639543"/>
            <a:ext cx="812799" cy="495299"/>
          </a:xfrm>
        </p:spPr>
        <p:txBody>
          <a:bodyPr>
            <a:normAutofit fontScale="92500" lnSpcReduction="20000"/>
          </a:bodyPr>
          <a:lstStyle/>
          <a:p>
            <a:r>
              <a:rPr lang="nl-NL" dirty="0"/>
              <a:t>0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6180CA-3420-A799-B600-A770F1B2F4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68800" y="3622571"/>
            <a:ext cx="4948500" cy="495299"/>
          </a:xfrm>
        </p:spPr>
        <p:txBody>
          <a:bodyPr/>
          <a:lstStyle/>
          <a:p>
            <a:r>
              <a:rPr lang="en-US" dirty="0"/>
              <a:t>Solving the “latency” use cas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26CB2B-144A-D409-2E62-6BEB1D88520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59400" y="3626847"/>
            <a:ext cx="812799" cy="495299"/>
          </a:xfrm>
        </p:spPr>
        <p:txBody>
          <a:bodyPr>
            <a:normAutofit fontScale="92500" lnSpcReduction="20000"/>
          </a:bodyPr>
          <a:lstStyle/>
          <a:p>
            <a:r>
              <a:rPr lang="nl-NL" dirty="0"/>
              <a:t>0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B1E862F-9308-476B-1767-17AAE10368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68800" y="4609874"/>
            <a:ext cx="4948500" cy="49529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Conclus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852940-9E70-687C-870E-B22800B26A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59400" y="4614150"/>
            <a:ext cx="812799" cy="495299"/>
          </a:xfrm>
        </p:spPr>
        <p:txBody>
          <a:bodyPr>
            <a:normAutofit fontScale="92500" lnSpcReduction="20000"/>
          </a:bodyPr>
          <a:lstStyle/>
          <a:p>
            <a:r>
              <a:rPr lang="nl-NL" dirty="0"/>
              <a:t>05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CE339EC-1558-2548-CE13-D4919CB7DB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31" r="25877"/>
          <a:stretch/>
        </p:blipFill>
        <p:spPr bwMode="auto">
          <a:xfrm>
            <a:off x="931008" y="1647962"/>
            <a:ext cx="3587334" cy="4438642"/>
          </a:xfrm>
          <a:prstGeom prst="roundRect">
            <a:avLst>
              <a:gd name="adj" fmla="val 4276"/>
            </a:avLst>
          </a:prstGeom>
          <a:noFill/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1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EF82D-3537-6680-5963-2F554D400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7174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13F13-3C0C-1264-5360-0A720B62C6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>
                <a:solidFill>
                  <a:schemeClr val="bg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569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205535-1F11-F67C-BEB9-BB2A2195C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ow functions are awesome</a:t>
            </a:r>
            <a:endParaRPr lang="nl-BE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39F02F9A-4280-2AE2-39BE-B151EAA95D27}"/>
              </a:ext>
            </a:extLst>
          </p:cNvPr>
          <p:cNvSpPr txBox="1">
            <a:spLocks/>
          </p:cNvSpPr>
          <p:nvPr/>
        </p:nvSpPr>
        <p:spPr>
          <a:xfrm>
            <a:off x="977152" y="1567887"/>
            <a:ext cx="2531857" cy="3945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They can solve a wide range of common business analyses problems</a:t>
            </a:r>
          </a:p>
          <a:p>
            <a:pPr marL="0" indent="0">
              <a:buNone/>
            </a:pPr>
            <a:r>
              <a:rPr lang="en-US" dirty="0" err="1"/>
              <a:t>gaps&amp;islands</a:t>
            </a:r>
            <a:r>
              <a:rPr lang="en-US" dirty="0"/>
              <a:t> is quite common, but is easy to solve with window functions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263F4F49-F8B7-2001-1017-032E289A58B7}"/>
              </a:ext>
            </a:extLst>
          </p:cNvPr>
          <p:cNvSpPr txBox="1">
            <a:spLocks/>
          </p:cNvSpPr>
          <p:nvPr/>
        </p:nvSpPr>
        <p:spPr>
          <a:xfrm>
            <a:off x="3944471" y="1567887"/>
            <a:ext cx="2281518" cy="3945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Code is more elegant and efficient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B0B30B9-F095-32DB-ABC0-E92CB36CC058}"/>
              </a:ext>
            </a:extLst>
          </p:cNvPr>
          <p:cNvSpPr txBox="1">
            <a:spLocks/>
          </p:cNvSpPr>
          <p:nvPr/>
        </p:nvSpPr>
        <p:spPr>
          <a:xfrm>
            <a:off x="6373905" y="1567887"/>
            <a:ext cx="2281518" cy="3945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They have good performance out-of-the-box</a:t>
            </a:r>
          </a:p>
          <a:p>
            <a:pPr marL="0" indent="0">
              <a:buNone/>
            </a:pPr>
            <a:r>
              <a:rPr lang="en-US" dirty="0"/>
              <a:t>be aware of the </a:t>
            </a:r>
            <a:r>
              <a:rPr lang="en-US" dirty="0">
                <a:hlinkClick r:id="rId4"/>
              </a:rPr>
              <a:t>defaults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A74C3B-97F3-12C1-08E8-0B904BCCA198}"/>
              </a:ext>
            </a:extLst>
          </p:cNvPr>
          <p:cNvSpPr/>
          <p:nvPr/>
        </p:nvSpPr>
        <p:spPr>
          <a:xfrm>
            <a:off x="8244217" y="5889812"/>
            <a:ext cx="2809264" cy="968188"/>
          </a:xfrm>
          <a:prstGeom prst="rect">
            <a:avLst/>
          </a:prstGeom>
          <a:ln w="635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BC6DAA7-C55B-D8DB-E435-720D963C98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44217" y="3860468"/>
            <a:ext cx="2809264" cy="21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78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0F5D11-AF5F-E4BF-42B9-A57489266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020E4-7962-5E04-AB0E-5DD60DF40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1339A-B700-400F-595D-BD32946A87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43</a:t>
            </a:fld>
            <a:endParaRPr lang="en-US" dirty="0"/>
          </a:p>
        </p:txBody>
      </p:sp>
      <p:pic>
        <p:nvPicPr>
          <p:cNvPr id="6" name="Picture 5" descr="A yellow and orange background&#10;&#10;Description automatically generated">
            <a:extLst>
              <a:ext uri="{FF2B5EF4-FFF2-40B4-BE49-F238E27FC236}">
                <a16:creationId xmlns:a16="http://schemas.microsoft.com/office/drawing/2014/main" id="{B054D764-A8F0-3390-D62F-F0B565D02F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6125" y="1952879"/>
            <a:ext cx="3314001" cy="1080000"/>
          </a:xfrm>
          <a:prstGeom prst="rect">
            <a:avLst/>
          </a:prstGeom>
        </p:spPr>
      </p:pic>
      <p:pic>
        <p:nvPicPr>
          <p:cNvPr id="7" name="Picture 6" descr="A yellow and orange background&#10;&#10;Description automatically generated">
            <a:extLst>
              <a:ext uri="{FF2B5EF4-FFF2-40B4-BE49-F238E27FC236}">
                <a16:creationId xmlns:a16="http://schemas.microsoft.com/office/drawing/2014/main" id="{384294D8-8613-7B79-2894-BB3D9936B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6429" y="3190427"/>
            <a:ext cx="3314001" cy="1080000"/>
          </a:xfrm>
          <a:prstGeom prst="rect">
            <a:avLst/>
          </a:prstGeom>
        </p:spPr>
      </p:pic>
      <p:pic>
        <p:nvPicPr>
          <p:cNvPr id="8" name="Picture 7" descr="A yellow and orange background&#10;&#10;Description automatically generated">
            <a:extLst>
              <a:ext uri="{FF2B5EF4-FFF2-40B4-BE49-F238E27FC236}">
                <a16:creationId xmlns:a16="http://schemas.microsoft.com/office/drawing/2014/main" id="{4691119A-E494-8F7A-0231-429EB6192C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6125" y="4465548"/>
            <a:ext cx="3314001" cy="1080000"/>
          </a:xfrm>
          <a:prstGeom prst="rect">
            <a:avLst/>
          </a:prstGeom>
        </p:spPr>
      </p:pic>
      <p:pic>
        <p:nvPicPr>
          <p:cNvPr id="10" name="Picture 9" descr="A red rectangular object with black lines&#10;&#10;Description automatically generated">
            <a:extLst>
              <a:ext uri="{FF2B5EF4-FFF2-40B4-BE49-F238E27FC236}">
                <a16:creationId xmlns:a16="http://schemas.microsoft.com/office/drawing/2014/main" id="{FF6BAE79-3954-DCF3-94B7-12A6B38C9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6429" y="1952879"/>
            <a:ext cx="3314001" cy="1080000"/>
          </a:xfrm>
          <a:prstGeom prst="rect">
            <a:avLst/>
          </a:prstGeom>
        </p:spPr>
      </p:pic>
      <p:pic>
        <p:nvPicPr>
          <p:cNvPr id="11" name="Picture 10" descr="A red rectangular object with black lines&#10;&#10;Description automatically generated">
            <a:extLst>
              <a:ext uri="{FF2B5EF4-FFF2-40B4-BE49-F238E27FC236}">
                <a16:creationId xmlns:a16="http://schemas.microsoft.com/office/drawing/2014/main" id="{527B42A6-4A67-0A6C-F196-15A53EF164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6125" y="3190427"/>
            <a:ext cx="3314001" cy="1080000"/>
          </a:xfrm>
          <a:prstGeom prst="rect">
            <a:avLst/>
          </a:prstGeom>
        </p:spPr>
      </p:pic>
      <p:pic>
        <p:nvPicPr>
          <p:cNvPr id="12" name="Picture 11" descr="A red rectangular object with black lines&#10;&#10;Description automatically generated">
            <a:extLst>
              <a:ext uri="{FF2B5EF4-FFF2-40B4-BE49-F238E27FC236}">
                <a16:creationId xmlns:a16="http://schemas.microsoft.com/office/drawing/2014/main" id="{286B7369-2F32-DE32-B3F8-888973DCC7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6429" y="4465548"/>
            <a:ext cx="3314001" cy="1080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0628CE9-60F0-3CCD-43F3-F81EA87C0D26}"/>
              </a:ext>
            </a:extLst>
          </p:cNvPr>
          <p:cNvSpPr txBox="1"/>
          <p:nvPr/>
        </p:nvSpPr>
        <p:spPr>
          <a:xfrm>
            <a:off x="2951650" y="2226304"/>
            <a:ext cx="29829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nl-B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-SQL OVER clause</a:t>
            </a:r>
            <a:endParaRPr lang="nl-B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45B87C-1E95-833D-6C68-0FD9CFDECF3B}"/>
              </a:ext>
            </a:extLst>
          </p:cNvPr>
          <p:cNvSpPr txBox="1"/>
          <p:nvPr/>
        </p:nvSpPr>
        <p:spPr>
          <a:xfrm>
            <a:off x="6746491" y="2069353"/>
            <a:ext cx="23138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ndow </a:t>
            </a:r>
            <a:r>
              <a:rPr lang="nl-BE" b="1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ctions</a:t>
            </a:r>
            <a:r>
              <a:rPr lang="nl-BE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Tutorial</a:t>
            </a:r>
            <a:endParaRPr lang="nl-BE" b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4C80EC-88C0-2E3D-7E0C-781ECC89F308}"/>
              </a:ext>
            </a:extLst>
          </p:cNvPr>
          <p:cNvSpPr txBox="1"/>
          <p:nvPr/>
        </p:nvSpPr>
        <p:spPr>
          <a:xfrm>
            <a:off x="3027123" y="3306900"/>
            <a:ext cx="28320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ical Query Processing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B3E77BA-CB22-6A88-8B16-97EEB69CFA12}"/>
              </a:ext>
            </a:extLst>
          </p:cNvPr>
          <p:cNvSpPr txBox="1"/>
          <p:nvPr/>
        </p:nvSpPr>
        <p:spPr>
          <a:xfrm>
            <a:off x="6293776" y="3302036"/>
            <a:ext cx="32193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b="1" dirty="0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umber</a:t>
            </a:r>
            <a:r>
              <a:rPr lang="nl-BE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eries generator </a:t>
            </a:r>
            <a:r>
              <a:rPr lang="nl-BE" b="1" dirty="0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allenge</a:t>
            </a:r>
            <a:r>
              <a:rPr lang="nl-BE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nl-BE" b="1" dirty="0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lutions</a:t>
            </a:r>
            <a:r>
              <a:rPr lang="nl-BE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endParaRPr lang="nl-BE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742C7E-17B5-CD6C-CA54-BEB5D9B6B16B}"/>
              </a:ext>
            </a:extLst>
          </p:cNvPr>
          <p:cNvSpPr txBox="1"/>
          <p:nvPr/>
        </p:nvSpPr>
        <p:spPr>
          <a:xfrm>
            <a:off x="2951650" y="4682382"/>
            <a:ext cx="29738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b="1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w</a:t>
            </a:r>
            <a:r>
              <a:rPr lang="nl-BE" b="1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nl-BE" b="1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ttern</a:t>
            </a:r>
            <a:r>
              <a:rPr lang="nl-BE" b="1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nl-BE" b="1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gnition</a:t>
            </a:r>
            <a:r>
              <a:rPr lang="nl-BE" b="1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in </a:t>
            </a:r>
            <a:r>
              <a:rPr lang="nl-BE" b="1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nowflake</a:t>
            </a:r>
            <a:endParaRPr lang="nl-BE" b="1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C89B146-E5D5-1DC2-A57A-450AC9C2A6C7}"/>
              </a:ext>
            </a:extLst>
          </p:cNvPr>
          <p:cNvSpPr txBox="1"/>
          <p:nvPr/>
        </p:nvSpPr>
        <p:spPr>
          <a:xfrm>
            <a:off x="6454671" y="4582022"/>
            <a:ext cx="28975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BE" b="1" dirty="0" err="1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vious</a:t>
            </a:r>
            <a:r>
              <a:rPr lang="nl-BE" b="1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NON NULL </a:t>
            </a:r>
            <a:r>
              <a:rPr lang="nl-BE" b="1" dirty="0" err="1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lue</a:t>
            </a:r>
            <a:endParaRPr lang="nl-BE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16FB42-9400-0A86-6901-15F6A6A4E9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31" r="25877"/>
          <a:stretch/>
        </p:blipFill>
        <p:spPr bwMode="auto">
          <a:xfrm>
            <a:off x="0" y="4270427"/>
            <a:ext cx="2091290" cy="258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644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8C225-F05A-A745-B281-72654431C7FC}"/>
              </a:ext>
            </a:extLst>
          </p:cNvPr>
          <p:cNvSpPr/>
          <p:nvPr/>
        </p:nvSpPr>
        <p:spPr>
          <a:xfrm>
            <a:off x="778933" y="3508022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BE" sz="1600" dirty="0"/>
              <a:t>www.ae.be</a:t>
            </a:r>
            <a:br>
              <a:rPr lang="en-BE" sz="1600" dirty="0"/>
            </a:br>
            <a:r>
              <a:rPr lang="en-BE" sz="1600" dirty="0"/>
              <a:t>inspire@ae.be</a:t>
            </a:r>
            <a:br>
              <a:rPr lang="en-BE" sz="1600" dirty="0"/>
            </a:br>
            <a:br>
              <a:rPr lang="en-BE" sz="1600" dirty="0"/>
            </a:br>
            <a:r>
              <a:rPr lang="en-BE" sz="1600" dirty="0"/>
              <a:t>+32 16 39 30 60</a:t>
            </a:r>
          </a:p>
          <a:p>
            <a:r>
              <a:rPr lang="en-BE" sz="1600" dirty="0"/>
              <a:t>Interleuvenlaan 27b</a:t>
            </a:r>
          </a:p>
          <a:p>
            <a:r>
              <a:rPr lang="en-BE" sz="1600" dirty="0"/>
              <a:t>3001 Heverlee</a:t>
            </a:r>
          </a:p>
        </p:txBody>
      </p:sp>
      <p:pic>
        <p:nvPicPr>
          <p:cNvPr id="4" name="Picture 3" descr="A qr code with dots and lines&#10;&#10;Description automatically generated">
            <a:extLst>
              <a:ext uri="{FF2B5EF4-FFF2-40B4-BE49-F238E27FC236}">
                <a16:creationId xmlns:a16="http://schemas.microsoft.com/office/drawing/2014/main" id="{B44F6B09-822A-F6EB-3767-D425A0858F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" t="6692" r="6533" b="7758"/>
          <a:stretch/>
        </p:blipFill>
        <p:spPr>
          <a:xfrm>
            <a:off x="9051097" y="4267452"/>
            <a:ext cx="2302703" cy="227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0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2C13BF-25E2-7F07-3995-A95D902A38C6}"/>
              </a:ext>
            </a:extLst>
          </p:cNvPr>
          <p:cNvSpPr txBox="1"/>
          <p:nvPr/>
        </p:nvSpPr>
        <p:spPr>
          <a:xfrm>
            <a:off x="2421261" y="166226"/>
            <a:ext cx="8570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Session</a:t>
            </a:r>
            <a:r>
              <a:rPr kumimoji="0" lang="nl-BE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 Feedback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💖</a:t>
            </a:r>
            <a:endParaRPr kumimoji="0" lang="LID4096" sz="5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E5FB7D-A168-5779-4EDC-ADF975F04B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48813" y="1181813"/>
            <a:ext cx="4494374" cy="449437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7028A06-C8FF-8437-6D15-1A5910BBB805}"/>
              </a:ext>
            </a:extLst>
          </p:cNvPr>
          <p:cNvSpPr txBox="1"/>
          <p:nvPr/>
        </p:nvSpPr>
        <p:spPr>
          <a:xfrm>
            <a:off x="2929812" y="5676187"/>
            <a:ext cx="707260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ID4096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bit.ly/dMC202</a:t>
            </a:r>
            <a:r>
              <a:rPr kumimoji="0" lang="nl-B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r>
              <a:rPr kumimoji="0" lang="LID4096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_SessionFeedback</a:t>
            </a:r>
          </a:p>
        </p:txBody>
      </p:sp>
      <p:pic>
        <p:nvPicPr>
          <p:cNvPr id="6" name="Picture 5" descr="A logo with a purple and blue design&#10;&#10;Description automatically generated">
            <a:extLst>
              <a:ext uri="{FF2B5EF4-FFF2-40B4-BE49-F238E27FC236}">
                <a16:creationId xmlns:a16="http://schemas.microsoft.com/office/drawing/2014/main" id="{F1B03EEC-C24F-7EFC-B0F5-2D7BDD1777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466" y="166226"/>
            <a:ext cx="1025637" cy="1025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78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What are window functions?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0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52E0C3D-D740-A877-B7C3-DCAF067A0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ow function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D355D3-0D14-F32C-4BB9-B8A8312E93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dirty="0">
                <a:latin typeface="Consolas" panose="020B0609020204030204" pitchFamily="49" charset="0"/>
              </a:rPr>
              <a:t>window function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Consolas" panose="020B0609020204030204" pitchFamily="49" charset="0"/>
              </a:rPr>
              <a:t>OVER</a:t>
            </a:r>
            <a:r>
              <a:rPr lang="en-US" dirty="0">
                <a:latin typeface="Consolas" panose="020B0609020204030204" pitchFamily="49" charset="0"/>
              </a:rPr>
              <a:t> (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  [</a:t>
            </a:r>
            <a:r>
              <a:rPr lang="en-US" dirty="0">
                <a:solidFill>
                  <a:srgbClr val="0070C0"/>
                </a:solidFill>
                <a:latin typeface="Consolas" panose="020B0609020204030204" pitchFamily="49" charset="0"/>
              </a:rPr>
              <a:t>PARTITION BY</a:t>
            </a:r>
            <a:r>
              <a:rPr lang="en-US" dirty="0">
                <a:latin typeface="Consolas" panose="020B0609020204030204" pitchFamily="49" charset="0"/>
              </a:rPr>
              <a:t> expression]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  [</a:t>
            </a:r>
            <a:r>
              <a:rPr lang="en-US" dirty="0">
                <a:solidFill>
                  <a:srgbClr val="0070C0"/>
                </a:solidFill>
                <a:latin typeface="Consolas" panose="020B0609020204030204" pitchFamily="49" charset="0"/>
              </a:rPr>
              <a:t>ORDER BY</a:t>
            </a:r>
            <a:r>
              <a:rPr lang="en-US" dirty="0">
                <a:latin typeface="Consolas" panose="020B0609020204030204" pitchFamily="49" charset="0"/>
              </a:rPr>
              <a:t> expression]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  [</a:t>
            </a:r>
            <a:r>
              <a:rPr lang="en-US" dirty="0">
                <a:solidFill>
                  <a:srgbClr val="0070C0"/>
                </a:solidFill>
                <a:latin typeface="Consolas" panose="020B0609020204030204" pitchFamily="49" charset="0"/>
              </a:rPr>
              <a:t>ROWS</a:t>
            </a:r>
            <a:r>
              <a:rPr lang="en-US" dirty="0">
                <a:latin typeface="Consolas" panose="020B0609020204030204" pitchFamily="49" charset="0"/>
              </a:rPr>
              <a:t> | </a:t>
            </a:r>
            <a:r>
              <a:rPr lang="en-US" dirty="0">
                <a:solidFill>
                  <a:srgbClr val="0070C0"/>
                </a:solidFill>
                <a:latin typeface="Consolas" panose="020B0609020204030204" pitchFamily="49" charset="0"/>
              </a:rPr>
              <a:t>RANGE </a:t>
            </a:r>
            <a:r>
              <a:rPr lang="en-US" dirty="0">
                <a:latin typeface="Consolas" panose="020B0609020204030204" pitchFamily="49" charset="0"/>
              </a:rPr>
              <a:t>BETWEEN </a:t>
            </a:r>
            <a:r>
              <a:rPr lang="en-US" i="1" dirty="0">
                <a:latin typeface="Consolas" panose="020B0609020204030204" pitchFamily="49" charset="0"/>
              </a:rPr>
              <a:t>frame bound</a:t>
            </a:r>
            <a:r>
              <a:rPr lang="en-US" dirty="0">
                <a:latin typeface="Consolas" panose="020B0609020204030204" pitchFamily="49" charset="0"/>
              </a:rPr>
              <a:t> AND </a:t>
            </a:r>
            <a:r>
              <a:rPr lang="en-US" i="1" dirty="0">
                <a:latin typeface="Consolas" panose="020B0609020204030204" pitchFamily="49" charset="0"/>
              </a:rPr>
              <a:t>frame bound</a:t>
            </a:r>
            <a:r>
              <a:rPr lang="en-US" dirty="0">
                <a:latin typeface="Consolas" panose="020B0609020204030204" pitchFamily="49" charset="0"/>
              </a:rPr>
              <a:t>]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   )</a:t>
            </a:r>
            <a:endParaRPr lang="nl-BE" dirty="0">
              <a:latin typeface="Consolas" panose="020B0609020204030204" pitchFamily="49" charset="0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068276C-8CFB-FCA5-7CED-55DA4FDF9E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</p:spPr>
        <p:txBody>
          <a:bodyPr/>
          <a:lstStyle/>
          <a:p>
            <a:fld id="{C0B2EF14-4A5E-9745-A203-CFD06475368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51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31BEF-51E4-372A-AC9E-8979D428A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b="1" dirty="0" err="1"/>
              <a:t>Available</a:t>
            </a:r>
            <a:r>
              <a:rPr lang="nl-BE" b="1" dirty="0"/>
              <a:t> </a:t>
            </a:r>
            <a:r>
              <a:rPr lang="nl-BE" b="1" dirty="0" err="1"/>
              <a:t>since</a:t>
            </a:r>
            <a:r>
              <a:rPr lang="nl-BE" b="1" dirty="0"/>
              <a:t> SQL Server 2005</a:t>
            </a: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ISTINCT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SalesYear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    ,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SalesPerYear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PARTITION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FF00FF"/>
                </a:solidFill>
                <a:latin typeface="Consolas" panose="020B0609020204030204" pitchFamily="49" charset="0"/>
              </a:rPr>
              <a:t>                                                 YEAR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en-US" dirty="0">
                <a:solidFill>
                  <a:srgbClr val="808080"/>
                </a:solidFill>
                <a:latin typeface="Consolas" panose="020B0609020204030204" pitchFamily="49" charset="0"/>
              </a:rPr>
              <a:t>))</a:t>
            </a:r>
            <a:endParaRPr lang="en-US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    ,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SalesGrandTotal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AdventureWorksDW2019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FactInternetSales</a:t>
            </a: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0000"/>
                </a:solidFill>
                <a:latin typeface="Consolas" panose="020B0609020204030204" pitchFamily="49" charset="0"/>
              </a:rPr>
              <a:t>SalesYear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948560-4ABC-3C05-3785-E9D15C8391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3FCC7C-3977-6746-143C-0EFFF59184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99"/>
          <a:stretch/>
        </p:blipFill>
        <p:spPr>
          <a:xfrm>
            <a:off x="4147038" y="4499097"/>
            <a:ext cx="4718667" cy="187662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76A21A7-31FB-6C07-2494-67FB3546D764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8FFEBB8-4B82-FA2D-18F2-9BB43A92670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C7344B4D-ED77-202E-5DF2-993EF82BB952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AC632FF-E665-16D7-730B-49BAD1D8F2C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EE4CBC7-9232-EBFC-27E0-4CFA48214138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GB" sz="2500" b="1" cap="none" spc="0" dirty="0">
                    <a:ln w="0"/>
                    <a:solidFill>
                      <a:schemeClr val="bg1"/>
                    </a:solidFill>
                  </a:rPr>
                  <a:t>EXAMPLE</a:t>
                </a:r>
                <a:r>
                  <a:rPr lang="en-GB" sz="2500" b="1" cap="none" spc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 1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EEA936B-540F-F83A-686C-B6E380769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727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91BA1-546C-026B-5D32-41AD5791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al query processing order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43F547-2D1F-F82E-49EB-775ADE9E7D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FROM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ON (used in joins)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OUTER/INNER/FULL/CROSS used in joins and/or APPLY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PIVOT/UNPIVOT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WHERE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GROUP BY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[CUBE / ROLLUP]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HAVING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SELEC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Calculating expression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DISTINCT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ORDER BY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Century Gothic" panose="020B0502020202020204" pitchFamily="34" charset="0"/>
              </a:rPr>
              <a:t>TOP / OFFSET-FETCH</a:t>
            </a:r>
          </a:p>
          <a:p>
            <a:pPr marL="0" indent="0">
              <a:buNone/>
            </a:pPr>
            <a:endParaRPr lang="nl-BE" dirty="0">
              <a:latin typeface="Century Gothic" panose="020B0502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F4D070-C1B2-75E4-0A16-D24A62EEEA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EF3C52A-9782-7AA6-B488-CF7DC39F4C5E}"/>
              </a:ext>
            </a:extLst>
          </p:cNvPr>
          <p:cNvSpPr/>
          <p:nvPr/>
        </p:nvSpPr>
        <p:spPr>
          <a:xfrm>
            <a:off x="728663" y="4157663"/>
            <a:ext cx="3573706" cy="1389917"/>
          </a:xfrm>
          <a:prstGeom prst="roundRect">
            <a:avLst>
              <a:gd name="adj" fmla="val 14510"/>
            </a:avLst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9345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6B4A2-01E6-3AD3-883D-21BD0F77F8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mp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AlternateKey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mp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Rank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FF"/>
                </a:solidFill>
                <a:latin typeface="Consolas" panose="020B0609020204030204" pitchFamily="49" charset="0"/>
              </a:rPr>
              <a:t>RANK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()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OVER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mp</a:t>
            </a:r>
            <a:r>
              <a:rPr lang="en-US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8000"/>
                </a:solidFill>
                <a:latin typeface="Consolas" panose="020B0609020204030204" pitchFamily="49" charset="0"/>
              </a:rPr>
              <a:t>-- first calculate the sales amount for each customer</a:t>
            </a:r>
            <a:endParaRPr lang="en-US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AlternateKey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actInternetSales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f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DimCustomer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  c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en-US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Key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Key</a:t>
            </a:r>
            <a:endParaRPr lang="en-US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CustomerAlternateKey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mp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450BF-5F02-3FCC-6CFC-16D2EC3EB8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BF40459-7ABE-61C1-1DF7-D570BD76F979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3BDB91F-DD51-DED8-269C-D7155B7FD3D5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AFA9C6B1-24CC-5BD7-D69B-6C5A9EA73F78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F6C27767-EEC8-29C0-EC8B-B7F7AF9C2A6D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7C3C0B1-53DB-887E-01FE-BA5160718F5D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GB" sz="2500" b="1" cap="none" spc="0" dirty="0">
                    <a:ln w="0"/>
                    <a:solidFill>
                      <a:schemeClr val="bg1"/>
                    </a:solidFill>
                  </a:rPr>
                  <a:t>EXAMPLE</a:t>
                </a:r>
                <a:r>
                  <a:rPr lang="en-GB" sz="2500" b="1" cap="none" spc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 2</a:t>
                </a:r>
              </a:p>
            </p:txBody>
          </p:sp>
        </p:grp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FA68629E-5366-3640-2504-30EBA49E1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114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92D013FB28F449BE60DEFAB0503152" ma:contentTypeVersion="11" ma:contentTypeDescription="Create a new document." ma:contentTypeScope="" ma:versionID="b5a8825dcd167efb2322861478467af6">
  <xsd:schema xmlns:xsd="http://www.w3.org/2001/XMLSchema" xmlns:xs="http://www.w3.org/2001/XMLSchema" xmlns:p="http://schemas.microsoft.com/office/2006/metadata/properties" xmlns:ns2="01f695ba-a536-45c9-9141-7a91830fcb89" xmlns:ns3="0b56b28d-ece3-4522-8ec4-6f9f6a9f9ff3" targetNamespace="http://schemas.microsoft.com/office/2006/metadata/properties" ma:root="true" ma:fieldsID="577d0c7bdcbf6363f5e3d05fbbc1ae17" ns2:_="" ns3:_="">
    <xsd:import namespace="01f695ba-a536-45c9-9141-7a91830fcb89"/>
    <xsd:import namespace="0b56b28d-ece3-4522-8ec4-6f9f6a9f9f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695ba-a536-45c9-9141-7a91830fcb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1001965-50d6-45bd-af63-f406dbfd6e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56b28d-ece3-4522-8ec4-6f9f6a9f9ff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f89d6cb-3a51-42ab-a737-ca217b34f46e}" ma:internalName="TaxCatchAll" ma:showField="CatchAllData" ma:web="0b56b28d-ece3-4522-8ec4-6f9f6a9f9f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b56b28d-ece3-4522-8ec4-6f9f6a9f9ff3" xsi:nil="true"/>
    <lcf76f155ced4ddcb4097134ff3c332f xmlns="01f695ba-a536-45c9-9141-7a91830fcb89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D1410D-4430-4433-BCA4-AC5F431E6D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695ba-a536-45c9-9141-7a91830fcb89"/>
    <ds:schemaRef ds:uri="0b56b28d-ece3-4522-8ec4-6f9f6a9f9f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00F647A-7FB0-42AB-A6C2-343B4E22EC38}">
  <ds:schemaRefs>
    <ds:schemaRef ds:uri="http://purl.org/dc/dcmitype/"/>
    <ds:schemaRef ds:uri="01f695ba-a536-45c9-9141-7a91830fcb89"/>
    <ds:schemaRef ds:uri="0b56b28d-ece3-4522-8ec4-6f9f6a9f9ff3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CFE0DA9-5995-4A0B-817F-274C00AE75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70</TotalTime>
  <Words>2434</Words>
  <Application>Microsoft Office PowerPoint</Application>
  <PresentationFormat>Widescreen</PresentationFormat>
  <Paragraphs>416</Paragraphs>
  <Slides>4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6" baseType="lpstr">
      <vt:lpstr>Aptos Narrow</vt:lpstr>
      <vt:lpstr>Arial</vt:lpstr>
      <vt:lpstr>Calibri</vt:lpstr>
      <vt:lpstr>Calibri Light</vt:lpstr>
      <vt:lpstr>Century Gothic</vt:lpstr>
      <vt:lpstr>Century Gothic Bold</vt:lpstr>
      <vt:lpstr>Consolas</vt:lpstr>
      <vt:lpstr>Work Sans</vt:lpstr>
      <vt:lpstr>AE Template</vt:lpstr>
      <vt:lpstr>Office Theme</vt:lpstr>
      <vt:lpstr>think-cell Slide</vt:lpstr>
      <vt:lpstr>Tackling the Gaps &amp; Islands Problem</vt:lpstr>
      <vt:lpstr>PowerPoint Presentation</vt:lpstr>
      <vt:lpstr>Contact</vt:lpstr>
      <vt:lpstr>Outline</vt:lpstr>
      <vt:lpstr>What are window functions?</vt:lpstr>
      <vt:lpstr>Window functions</vt:lpstr>
      <vt:lpstr>PowerPoint Presentation</vt:lpstr>
      <vt:lpstr>Logical query processing order</vt:lpstr>
      <vt:lpstr>PowerPoint Presentation</vt:lpstr>
      <vt:lpstr>PowerPoint Presentation</vt:lpstr>
      <vt:lpstr>PowerPoint Presentation</vt:lpstr>
      <vt:lpstr>PowerPoint Presentation</vt:lpstr>
      <vt:lpstr>How does it work?</vt:lpstr>
      <vt:lpstr>Wut?</vt:lpstr>
      <vt:lpstr>Common  use cases</vt:lpstr>
      <vt:lpstr>Median</vt:lpstr>
      <vt:lpstr>RANGE vs ROWS</vt:lpstr>
      <vt:lpstr>Dealing with duplicates</vt:lpstr>
      <vt:lpstr>Dealing with duplicates</vt:lpstr>
      <vt:lpstr>Tally table</vt:lpstr>
      <vt:lpstr>Inspect other rows</vt:lpstr>
      <vt:lpstr>Inspect other rows</vt:lpstr>
      <vt:lpstr>The gaps &amp; islands problem</vt:lpstr>
      <vt:lpstr>Gaps &amp; islands problem</vt:lpstr>
      <vt:lpstr>Gaps &amp; islands problem</vt:lpstr>
      <vt:lpstr>Gaps example</vt:lpstr>
      <vt:lpstr>Find the next start date</vt:lpstr>
      <vt:lpstr>Find gaps &gt; 1</vt:lpstr>
      <vt:lpstr>Islands example</vt:lpstr>
      <vt:lpstr>Calculate dense rank</vt:lpstr>
      <vt:lpstr>Subtract rank from date</vt:lpstr>
      <vt:lpstr>Aggregate</vt:lpstr>
      <vt:lpstr>Calculating “latency” of a consultant</vt:lpstr>
      <vt:lpstr>What is latency?</vt:lpstr>
      <vt:lpstr>Data sources</vt:lpstr>
      <vt:lpstr>Significant allocations</vt:lpstr>
      <vt:lpstr>Starter latency</vt:lpstr>
      <vt:lpstr>Bench latency</vt:lpstr>
      <vt:lpstr>Zero latency aka good job!</vt:lpstr>
      <vt:lpstr>DEMO</vt:lpstr>
      <vt:lpstr>Conclusion</vt:lpstr>
      <vt:lpstr>window functions are awesome</vt:lpstr>
      <vt:lpstr>Resourc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88</cp:revision>
  <dcterms:created xsi:type="dcterms:W3CDTF">2019-03-20T20:18:18Z</dcterms:created>
  <dcterms:modified xsi:type="dcterms:W3CDTF">2024-10-02T12:0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2D013FB28F449BE60DEFAB0503152</vt:lpwstr>
  </property>
  <property fmtid="{D5CDD505-2E9C-101B-9397-08002B2CF9AE}" pid="3" name="MediaServiceImageTags">
    <vt:lpwstr/>
  </property>
</Properties>
</file>